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notesSlides/notesSlide1.xml" ContentType="application/vnd.openxmlformats-officedocument.presentationml.notesSlide+xml"/>
  <Override PartName="/ppt/tags/tag419.xml" ContentType="application/vnd.openxmlformats-officedocument.presentationml.tags+xml"/>
  <Override PartName="/ppt/notesSlides/notesSlide2.xml" ContentType="application/vnd.openxmlformats-officedocument.presentationml.notesSlide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notesSlides/notesSlide3.xml" ContentType="application/vnd.openxmlformats-officedocument.presentationml.notesSlide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notesSlides/notesSlide4.xml" ContentType="application/vnd.openxmlformats-officedocument.presentationml.notesSlide+xml"/>
  <Override PartName="/ppt/tags/tag429.xml" ContentType="application/vnd.openxmlformats-officedocument.presentationml.tags+xml"/>
  <Override PartName="/ppt/notesSlides/notesSlide5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notesSlides/notesSlide6.xml" ContentType="application/vnd.openxmlformats-officedocument.presentationml.notesSlide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notesSlides/notesSlide7.xml" ContentType="application/vnd.openxmlformats-officedocument.presentationml.notesSlid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notesSlides/notesSlide8.xml" ContentType="application/vnd.openxmlformats-officedocument.presentationml.notesSlide+xml"/>
  <Override PartName="/ppt/tags/tag455.xml" ContentType="application/vnd.openxmlformats-officedocument.presentationml.tags+xml"/>
  <Override PartName="/ppt/notesSlides/notesSlide9.xml" ContentType="application/vnd.openxmlformats-officedocument.presentationml.notesSlide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notesSlides/notesSlide10.xml" ContentType="application/vnd.openxmlformats-officedocument.presentationml.notesSlide+xml"/>
  <Override PartName="/ppt/tags/tag458.xml" ContentType="application/vnd.openxmlformats-officedocument.presentationml.tags+xml"/>
  <Override PartName="/ppt/notesSlides/notesSlide11.xml" ContentType="application/vnd.openxmlformats-officedocument.presentationml.notesSlide+xml"/>
  <Override PartName="/ppt/tags/tag459.xml" ContentType="application/vnd.openxmlformats-officedocument.presentationml.tags+xml"/>
  <Override PartName="/ppt/notesSlides/notesSlide12.xml" ContentType="application/vnd.openxmlformats-officedocument.presentationml.notesSlide+xml"/>
  <Override PartName="/ppt/tags/tag460.xml" ContentType="application/vnd.openxmlformats-officedocument.presentationml.tags+xml"/>
  <Override PartName="/ppt/notesSlides/notesSlide13.xml" ContentType="application/vnd.openxmlformats-officedocument.presentationml.notesSlide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notesSlides/notesSlide14.xml" ContentType="application/vnd.openxmlformats-officedocument.presentationml.notesSlide+xml"/>
  <Override PartName="/ppt/tags/tag463.xml" ContentType="application/vnd.openxmlformats-officedocument.presentationml.tags+xml"/>
  <Override PartName="/ppt/notesSlides/notesSlide15.xml" ContentType="application/vnd.openxmlformats-officedocument.presentationml.notesSlide+xml"/>
  <Override PartName="/ppt/tags/tag464.xml" ContentType="application/vnd.openxmlformats-officedocument.presentationml.tags+xml"/>
  <Override PartName="/ppt/notesSlides/notesSlide16.xml" ContentType="application/vnd.openxmlformats-officedocument.presentationml.notesSlide+xml"/>
  <Override PartName="/ppt/tags/tag465.xml" ContentType="application/vnd.openxmlformats-officedocument.presentationml.tags+xml"/>
  <Override PartName="/ppt/notesSlides/notesSlide17.xml" ContentType="application/vnd.openxmlformats-officedocument.presentationml.notesSlide+xml"/>
  <Override PartName="/ppt/tags/tag466.xml" ContentType="application/vnd.openxmlformats-officedocument.presentationml.tags+xml"/>
  <Override PartName="/ppt/notesSlides/notesSlide18.xml" ContentType="application/vnd.openxmlformats-officedocument.presentationml.notesSlide+xml"/>
  <Override PartName="/ppt/tags/tag467.xml" ContentType="application/vnd.openxmlformats-officedocument.presentationml.tags+xml"/>
  <Override PartName="/ppt/notesSlides/notesSlide19.xml" ContentType="application/vnd.openxmlformats-officedocument.presentationml.notesSlide+xml"/>
  <Override PartName="/ppt/tags/tag468.xml" ContentType="application/vnd.openxmlformats-officedocument.presentationml.tags+xml"/>
  <Override PartName="/ppt/notesSlides/notesSlide20.xml" ContentType="application/vnd.openxmlformats-officedocument.presentationml.notesSlide+xml"/>
  <Override PartName="/ppt/tags/tag469.xml" ContentType="application/vnd.openxmlformats-officedocument.presentationml.tags+xml"/>
  <Override PartName="/ppt/notesSlides/notesSlide21.xml" ContentType="application/vnd.openxmlformats-officedocument.presentationml.notesSlide+xml"/>
  <Override PartName="/ppt/tags/tag470.xml" ContentType="application/vnd.openxmlformats-officedocument.presentationml.tags+xml"/>
  <Override PartName="/ppt/notesSlides/notesSlide22.xml" ContentType="application/vnd.openxmlformats-officedocument.presentationml.notesSlide+xml"/>
  <Override PartName="/ppt/tags/tag471.xml" ContentType="application/vnd.openxmlformats-officedocument.presentationml.tags+xml"/>
  <Override PartName="/ppt/notesSlides/notesSlide23.xml" ContentType="application/vnd.openxmlformats-officedocument.presentationml.notesSlide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notesSlides/notesSlide24.xml" ContentType="application/vnd.openxmlformats-officedocument.presentationml.notesSlide+xml"/>
  <Override PartName="/ppt/tags/tag474.xml" ContentType="application/vnd.openxmlformats-officedocument.presentationml.tags+xml"/>
  <Override PartName="/ppt/notesSlides/notesSlide25.xml" ContentType="application/vnd.openxmlformats-officedocument.presentationml.notesSlide+xml"/>
  <Override PartName="/ppt/tags/tag475.xml" ContentType="application/vnd.openxmlformats-officedocument.presentationml.tags+xml"/>
  <Override PartName="/ppt/notesSlides/notesSlide26.xml" ContentType="application/vnd.openxmlformats-officedocument.presentationml.notesSlide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notesSlides/notesSlide27.xml" ContentType="application/vnd.openxmlformats-officedocument.presentationml.notesSlide+xml"/>
  <Override PartName="/ppt/tags/tag478.xml" ContentType="application/vnd.openxmlformats-officedocument.presentationml.tags+xml"/>
  <Override PartName="/ppt/notesSlides/notesSlide28.xml" ContentType="application/vnd.openxmlformats-officedocument.presentationml.notesSlide+xml"/>
  <Override PartName="/ppt/tags/tag479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 autoCompressPictures="0">
  <p:sldMasterIdLst>
    <p:sldMasterId id="2147483648" r:id="rId1"/>
    <p:sldMasterId id="2147483864" r:id="rId2"/>
  </p:sldMasterIdLst>
  <p:notesMasterIdLst>
    <p:notesMasterId r:id="rId47"/>
  </p:notesMasterIdLst>
  <p:handoutMasterIdLst>
    <p:handoutMasterId r:id="rId48"/>
  </p:handoutMasterIdLst>
  <p:sldIdLst>
    <p:sldId id="2147479755" r:id="rId3"/>
    <p:sldId id="2147479703" r:id="rId4"/>
    <p:sldId id="2147479704" r:id="rId5"/>
    <p:sldId id="2147479705" r:id="rId6"/>
    <p:sldId id="2147479746" r:id="rId7"/>
    <p:sldId id="2147479579" r:id="rId8"/>
    <p:sldId id="2147479459" r:id="rId9"/>
    <p:sldId id="2147479611" r:id="rId10"/>
    <p:sldId id="2147479728" r:id="rId11"/>
    <p:sldId id="2147479747" r:id="rId12"/>
    <p:sldId id="2147479706" r:id="rId13"/>
    <p:sldId id="2147479707" r:id="rId14"/>
    <p:sldId id="2147479708" r:id="rId15"/>
    <p:sldId id="2147479748" r:id="rId16"/>
    <p:sldId id="2147479756" r:id="rId17"/>
    <p:sldId id="2147479584" r:id="rId18"/>
    <p:sldId id="2147479749" r:id="rId19"/>
    <p:sldId id="2147479729" r:id="rId20"/>
    <p:sldId id="1448941732" r:id="rId21"/>
    <p:sldId id="2147479733" r:id="rId22"/>
    <p:sldId id="2147479735" r:id="rId23"/>
    <p:sldId id="2147479736" r:id="rId24"/>
    <p:sldId id="2147479734" r:id="rId25"/>
    <p:sldId id="2147479737" r:id="rId26"/>
    <p:sldId id="2147479751" r:id="rId27"/>
    <p:sldId id="2147479730" r:id="rId28"/>
    <p:sldId id="2147479503" r:id="rId29"/>
    <p:sldId id="3826" r:id="rId30"/>
    <p:sldId id="2147479614" r:id="rId31"/>
    <p:sldId id="2147479738" r:id="rId32"/>
    <p:sldId id="2147479741" r:id="rId33"/>
    <p:sldId id="2147479739" r:id="rId34"/>
    <p:sldId id="2147479742" r:id="rId35"/>
    <p:sldId id="2147479740" r:id="rId36"/>
    <p:sldId id="2147479743" r:id="rId37"/>
    <p:sldId id="2147479752" r:id="rId38"/>
    <p:sldId id="2147479731" r:id="rId39"/>
    <p:sldId id="1448941719" r:id="rId40"/>
    <p:sldId id="2147479745" r:id="rId41"/>
    <p:sldId id="2147479744" r:id="rId42"/>
    <p:sldId id="2147479720" r:id="rId43"/>
    <p:sldId id="2147479581" r:id="rId44"/>
    <p:sldId id="2147479721" r:id="rId45"/>
    <p:sldId id="2147479722" r:id="rId46"/>
  </p:sldIdLst>
  <p:sldSz cx="12192000" cy="6858000"/>
  <p:notesSz cx="7102475" cy="9388475"/>
  <p:embeddedFontLst>
    <p:embeddedFont>
      <p:font typeface="Consolas" panose="020B0609020204030204" pitchFamily="49" charset="0"/>
      <p:regular r:id="rId49"/>
      <p:bold r:id="rId50"/>
      <p:italic r:id="rId51"/>
      <p:boldItalic r:id="rId52"/>
    </p:embeddedFont>
    <p:embeddedFont>
      <p:font typeface="Georgia" panose="02040502050405020303" pitchFamily="18" charset="0"/>
      <p:regular r:id="rId53"/>
      <p:bold r:id="rId54"/>
      <p:italic r:id="rId55"/>
      <p:boldItalic r:id="rId56"/>
    </p:embeddedFont>
    <p:embeddedFont>
      <p:font typeface="Inter" panose="02000503000000020004" pitchFamily="2" charset="0"/>
      <p:regular r:id="rId57"/>
      <p:bold r:id="rId58"/>
    </p:embeddedFont>
    <p:embeddedFont>
      <p:font typeface="Inter Black" panose="02000503000000020004" pitchFamily="2" charset="0"/>
      <p:regular r:id="rId59"/>
      <p:bold r:id="rId60"/>
    </p:embeddedFont>
    <p:embeddedFont>
      <p:font typeface="Inter SemiBold" panose="02000503000000020004" pitchFamily="2" charset="0"/>
      <p:regular r:id="rId61"/>
      <p:bold r:id="rId62"/>
    </p:embeddedFont>
    <p:embeddedFont>
      <p:font typeface="Segoe UI" panose="020B0502040204020203" pitchFamily="34" charset="0"/>
      <p:regular r:id="rId63"/>
      <p:bold r:id="rId64"/>
      <p:italic r:id="rId65"/>
      <p:boldItalic r:id="rId66"/>
    </p:embeddedFont>
  </p:embeddedFontLst>
  <p:custDataLst>
    <p:tags r:id="rId6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900"/>
    <a:srgbClr val="FFD230"/>
    <a:srgbClr val="FFDC60"/>
    <a:srgbClr val="FFE590"/>
    <a:srgbClr val="FFEEC0"/>
    <a:srgbClr val="F2F2F2"/>
    <a:srgbClr val="262626"/>
    <a:srgbClr val="404040"/>
    <a:srgbClr val="80008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C75E2A-AF93-504A-A6E9-8D9C407631BC}" v="15" dt="2025-08-11T10:50:50.3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91" autoAdjust="0"/>
    <p:restoredTop sz="94621" autoAdjust="0"/>
  </p:normalViewPr>
  <p:slideViewPr>
    <p:cSldViewPr snapToGrid="0">
      <p:cViewPr varScale="1">
        <p:scale>
          <a:sx n="116" d="100"/>
          <a:sy n="116" d="100"/>
        </p:scale>
        <p:origin x="216" y="4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2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notesMaster" Target="notesMasters/notesMaster1.xml"/><Relationship Id="rId63" Type="http://schemas.openxmlformats.org/officeDocument/2006/relationships/font" Target="fonts/font15.fntdata"/><Relationship Id="rId6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font" Target="fonts/font5.fntdata"/><Relationship Id="rId58" Type="http://schemas.openxmlformats.org/officeDocument/2006/relationships/font" Target="fonts/font10.fntdata"/><Relationship Id="rId66" Type="http://schemas.openxmlformats.org/officeDocument/2006/relationships/font" Target="fonts/font18.fntdata"/><Relationship Id="rId5" Type="http://schemas.openxmlformats.org/officeDocument/2006/relationships/slide" Target="slides/slide3.xml"/><Relationship Id="rId61" Type="http://schemas.openxmlformats.org/officeDocument/2006/relationships/font" Target="fonts/font13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handoutMaster" Target="handoutMasters/handoutMaster1.xml"/><Relationship Id="rId56" Type="http://schemas.openxmlformats.org/officeDocument/2006/relationships/font" Target="fonts/font8.fntdata"/><Relationship Id="rId64" Type="http://schemas.openxmlformats.org/officeDocument/2006/relationships/font" Target="fonts/font16.fntdata"/><Relationship Id="rId69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3.fntdata"/><Relationship Id="rId72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font" Target="fonts/font11.fntdata"/><Relationship Id="rId67" Type="http://schemas.openxmlformats.org/officeDocument/2006/relationships/tags" Target="tags/tag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6.fntdata"/><Relationship Id="rId62" Type="http://schemas.openxmlformats.org/officeDocument/2006/relationships/font" Target="fonts/font14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1.fntdata"/><Relationship Id="rId57" Type="http://schemas.openxmlformats.org/officeDocument/2006/relationships/font" Target="fonts/font9.fntdata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font" Target="fonts/font4.fntdata"/><Relationship Id="rId60" Type="http://schemas.openxmlformats.org/officeDocument/2006/relationships/font" Target="fonts/font12.fntdata"/><Relationship Id="rId65" Type="http://schemas.openxmlformats.org/officeDocument/2006/relationships/font" Target="fonts/font17.fntdata"/><Relationship Id="rId73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font" Target="fonts/font2.fntdata"/><Relationship Id="rId55" Type="http://schemas.openxmlformats.org/officeDocument/2006/relationships/font" Target="fonts/font7.fntdata"/><Relationship Id="rId7" Type="http://schemas.openxmlformats.org/officeDocument/2006/relationships/slide" Target="slides/slide5.xml"/><Relationship Id="rId7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270035-4E2B-A349-9BC3-2B2A4B1154B4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DC1430B4-A492-C64F-BDC7-505859B71F1E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u="none" strike="noStrike" dirty="0">
                <a:solidFill>
                  <a:srgbClr val="212121"/>
                </a:solidFill>
                <a:effectLst/>
                <a:latin typeface="Aptos" panose="020B0004020202020204" pitchFamily="34" charset="0"/>
              </a:rPr>
              <a:t>Embedding Software Engineering Best Practices into Machine Learning Projects with Kedr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255D0D3-A23E-104D-9E57-78E8E680CDEC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891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403B270-F2DB-6043-8401-998DD014139A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66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545FF-DDE9-DDFD-4FDF-3248EB7C6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0CB459-E1DB-D6FA-C899-84A4E43A12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2E7ACE-B544-244A-9EA7-9CFD190459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3ACFD6-CF8A-83B8-9920-7431F7F1B11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C25DB6-5434-314A-945E-5ADD42928719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C4E24E-E7BC-4AEB-9F1A-53FCE93FF2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9241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2868609-9884-0240-A3D0-2F1C378B9508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455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5B5B6-00CE-5411-3365-A0E017266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C037AD-6D3A-00D3-D617-D45EB7BA4F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AF4781-36AE-503E-A442-0A51CAF622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9285B6-9E9D-D70A-B393-54B88BE803C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C873D37-BE4D-9144-8B4B-5FEF787CE8F2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D436A0-18CF-89A7-9839-5A06C249D6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515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b="0" i="0" dirty="0">
                <a:solidFill>
                  <a:srgbClr val="131313"/>
                </a:solidFill>
                <a:effectLst/>
                <a:latin typeface="-apple-system"/>
              </a:rPr>
              <a:t>Proper separation also comes with other benefits. It's easier for people to find themselves around your project, it lessens the mental load required to dive into a targeted part of the system (don't need to wade through UI code if you are fixing business logic, etc.).</a:t>
            </a:r>
          </a:p>
          <a:p>
            <a:pPr marL="171450" indent="-171450">
              <a:buFontTx/>
              <a:buChar char="-"/>
            </a:pPr>
            <a:r>
              <a:rPr lang="en-GB" b="0" i="0" dirty="0">
                <a:solidFill>
                  <a:srgbClr val="131313"/>
                </a:solidFill>
                <a:effectLst/>
                <a:latin typeface="-apple-system"/>
              </a:rPr>
              <a:t>Separating the jobs of different parts of the system is even more critical - only one system should handle talking to a particular external API, etc.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131313"/>
                </a:solidFill>
                <a:effectLst/>
                <a:latin typeface="-apple-system"/>
              </a:rPr>
              <a:t>Data management I/O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131313"/>
                </a:solidFill>
                <a:effectLst/>
                <a:latin typeface="-apple-system"/>
              </a:rPr>
              <a:t>Model settings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131313"/>
                </a:solidFill>
                <a:effectLst/>
                <a:latin typeface="-apple-system"/>
              </a:rPr>
              <a:t>Central place for credentials handl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84B485-1A82-C644-AD76-DA5C9D85DCBC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572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8BC3E0-8F77-784B-9B09-BB57698DEBA1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7677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377F2710-A049-4EC0-8970-B7EE79B3E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EB903628-230E-4335-9FB9-A2B411A6AC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3115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22BA-B16E-FD49-8DFA-8E7912576052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1 August, 202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126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can separate out the data loading/saving operations</a:t>
            </a:r>
          </a:p>
          <a:p>
            <a:r>
              <a:rPr lang="en-GB" dirty="0"/>
              <a:t>Move hard-coded values for </a:t>
            </a:r>
            <a:r>
              <a:rPr lang="en-GB" dirty="0" err="1"/>
              <a:t>filepaths</a:t>
            </a:r>
            <a:r>
              <a:rPr lang="en-GB" dirty="0"/>
              <a:t> and parameters to a central configu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A7EDCB2-302B-DF41-B6AD-FEBBF5500F18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1395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48E7D-1BA6-CCC0-6074-F07BADF37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A45B3C-5A00-7A72-084A-D4F9AF774A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94F6D5-5792-CFFC-7814-67D69F7875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49765F-B018-1857-001A-D22A7DCC8F0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167E61-72C1-D24F-9A04-F6D0BFD6ACC7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6A9EC8-F9E6-43A8-E496-A1A5C3310B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82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5FC74-E050-5541-BEB6-80CCF2DAA9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4789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BE8841-DB3E-315A-4FAD-71EA40CB5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CFF32-885D-F6F6-B743-01E9E4D42A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4ECC71-AEB4-CEF7-5AFF-A2C87AB2AA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F0175B-6EC6-249D-E438-FEC0AC8A947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FCF3AA7-0BF0-A447-88EE-AF11CC3F302C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673353-1AD6-B4F0-464A-BDEC09DCB3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4786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D3269-0DFB-5E53-282A-120F483EA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979706-CD1E-8788-9E45-B4AFB3422B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C27C0C-1670-CE79-D271-7C96F461DB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A4941D-1492-7C67-75D7-5AFD90A9C51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9BED20-06F1-0741-B4CE-5E0BEFF62C24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F5037D-2C0C-CD84-AC52-AA4C7F17AA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6418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8902E-BA97-D835-D6A9-99171E8A85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E22599-85C6-79BA-6DC2-A51C5B881B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AA12BA-B96F-94B5-9F89-DB15C00110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90DB20-276D-4102-A0C3-6CF1C0557EB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8114F9D-B04F-6041-9D25-AE5CCA2E17DC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23B846-1C17-E354-17BE-A744A484CE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0682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5DE30-248D-C04C-CE40-62B43C61AA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3EBDD-0760-E451-821A-DFABD0B2E8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F371B0-8A2A-DB68-B532-1C395D8F18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2C873C-6C49-DBEA-9ACA-835F3EAD4CB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122F6AF-9CB9-474E-AB91-DC56B119804C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2A0C7B-77C2-4A1C-0D73-F32D85435E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8777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15450" lvl="1" indent="-171450">
              <a:buFontTx/>
              <a:buChar char="-"/>
            </a:pPr>
            <a:r>
              <a:rPr lang="en-GB" dirty="0"/>
              <a:t>Testing verifies that your code meets different requirements (functional, business, performance, reliability, security, usability)</a:t>
            </a:r>
          </a:p>
          <a:p>
            <a:pPr marL="315450" lvl="1" indent="-171450">
              <a:buFontTx/>
              <a:buChar char="-"/>
            </a:pPr>
            <a:r>
              <a:rPr lang="en-GB" dirty="0"/>
              <a:t>If the software isn’t systematically tested, unintended behaviour won’t be spotted easily and finding the cause might not be trivial</a:t>
            </a:r>
          </a:p>
          <a:p>
            <a:pPr lvl="1"/>
            <a:r>
              <a:rPr lang="en-GB" sz="1100" dirty="0"/>
              <a:t>- Modular code is easier to test</a:t>
            </a:r>
          </a:p>
          <a:p>
            <a:pPr lvl="1"/>
            <a:r>
              <a:rPr lang="en-GB" sz="1100" dirty="0"/>
              <a:t>- Testing structure in template</a:t>
            </a:r>
          </a:p>
          <a:p>
            <a:pPr lvl="1"/>
            <a:r>
              <a:rPr lang="en-GB" sz="1100" dirty="0"/>
              <a:t>- Continuous integration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30768E4-2567-2B44-A887-134342FAFAFE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8207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9A472AC-4D00-184C-8238-A86C4834FFDE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3838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07D0C5-01F6-D340-AF3C-190AC110D1F3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5658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5FC74-E050-5541-BEB6-80CCF2DAA909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5636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11EFF1E-4001-5A45-A0F7-59215837DF3D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3291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5FC74-E050-5541-BEB6-80CCF2DAA9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477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182E8EE2-423F-4939-BB3F-781076DE6A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854BF29B-EECC-4166-B05D-1708221109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D1D5DB"/>
                </a:solidFill>
                <a:effectLst/>
                <a:latin typeface="Söhne"/>
              </a:rPr>
              <a:t>Lack of standardized coding practic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D1D5DB"/>
                </a:solidFill>
                <a:effectLst/>
                <a:latin typeface="Söhne"/>
              </a:rPr>
              <a:t>Difficulty in sharing code across different enviro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9327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75FC74-E050-5541-BEB6-80CCF2DAA909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895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- Initially built within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QuantumBlack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 &amp; McKinsey for internal use</a:t>
            </a:r>
          </a:p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2019 OS + Linux Foundation 2022</a:t>
            </a:r>
          </a:p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- Open-source Python framework created for ML &amp;  data practitioners</a:t>
            </a:r>
          </a:p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- Bringing software engineering best practices to data projects: encouraging 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Modularity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, 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Separation of concerns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and 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Versioning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  <a:sym typeface=""/>
            </a:endParaRPr>
          </a:p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- </a:t>
            </a:r>
            <a:r>
              <a:rPr lang="en-GB" b="0" i="0" dirty="0">
                <a:solidFill>
                  <a:srgbClr val="D1D5DB"/>
                </a:solidFill>
                <a:effectLst/>
                <a:latin typeface="Söhne"/>
              </a:rPr>
              <a:t>Expanded collaborations beyond QB McKinsey</a:t>
            </a:r>
          </a:p>
          <a:p>
            <a:pPr marL="628650" lvl="1" indent="-171450">
              <a:buClr>
                <a:schemeClr val="tx2"/>
              </a:buClr>
              <a:buFontTx/>
              <a:buChar char="-"/>
            </a:pPr>
            <a:endParaRPr lang="en-GB" sz="1200" dirty="0">
              <a:solidFill>
                <a:schemeClr val="tx2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D73C7A-F75B-4B44-ADA6-17297813D332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19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- Addresses shortcomings of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Jupyter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 notebooks  with a focus on maintainable data science code</a:t>
            </a:r>
          </a:p>
          <a:p>
            <a:pPr marL="628650" lvl="1" indent="-171450">
              <a:buClr>
                <a:schemeClr val="tx2"/>
              </a:buClr>
              <a:buFontTx/>
              <a:buChar char="-"/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You can think of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Kedro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sym typeface=""/>
              </a:rPr>
              <a:t> as “React” or “Django” for ML project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CB5BF4E-8F43-3549-B487-9FE2347D2CA6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5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TENCY</a:t>
            </a:r>
          </a:p>
          <a:p>
            <a:r>
              <a:rPr lang="en-US" dirty="0"/>
              <a:t>Template: consistency in project structure</a:t>
            </a:r>
          </a:p>
          <a:p>
            <a:r>
              <a:rPr lang="en-US" dirty="0"/>
              <a:t>Catalog: consistency of reading/writing da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738ABDB-D641-7942-88FC-DF21BDFBC1D4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294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BB8FB20-8816-B94B-BA3A-5BE2E8CA8F26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518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/>
              <a:t>What is modularity?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001D35"/>
                </a:solidFill>
                <a:effectLst/>
                <a:latin typeface="Google Sans"/>
              </a:rPr>
              <a:t>a design principle that involves breaking down a complex software system into smaller, independent modules. Each module is responsible for a specific function or feature and operates independently. </a:t>
            </a: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Why is it good?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1F1F1F"/>
                </a:solidFill>
                <a:effectLst/>
                <a:latin typeface="Google Sans"/>
              </a:rPr>
              <a:t>enhances the understandability of the system</a:t>
            </a:r>
            <a:endParaRPr lang="en-GB" b="0" i="0" dirty="0">
              <a:solidFill>
                <a:srgbClr val="545D7E"/>
              </a:solidFill>
              <a:effectLst/>
              <a:latin typeface="Google Sans"/>
            </a:endParaRP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545D7E"/>
                </a:solidFill>
                <a:effectLst/>
                <a:latin typeface="Google Sans"/>
              </a:rPr>
              <a:t>Easier to navigate and think about the codebase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545D7E"/>
                </a:solidFill>
                <a:effectLst/>
                <a:latin typeface="Google Sans"/>
              </a:rPr>
              <a:t>Easier collaboration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545D7E"/>
                </a:solidFill>
                <a:effectLst/>
                <a:latin typeface="Google Sans"/>
              </a:rPr>
              <a:t>Reusability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545D7E"/>
                </a:solidFill>
                <a:effectLst/>
                <a:latin typeface="Google Sans"/>
              </a:rPr>
              <a:t>makes it easier to test smaller chunks, which can be faster and help find bugs</a:t>
            </a:r>
          </a:p>
          <a:p>
            <a:pPr marL="315450" lvl="1" indent="-171450">
              <a:buFontTx/>
              <a:buChar char="-"/>
            </a:pPr>
            <a:r>
              <a:rPr lang="en-GB" b="0" i="0" dirty="0">
                <a:solidFill>
                  <a:srgbClr val="545D7E"/>
                </a:solidFill>
                <a:effectLst/>
                <a:latin typeface="Google Sans"/>
              </a:rPr>
              <a:t>Isolating issues within specific modules simplifies debugging and updating processes.</a:t>
            </a: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How Kedro is designed to encourage a modular project design</a:t>
            </a:r>
          </a:p>
          <a:p>
            <a:pPr marL="171450" indent="-171450">
              <a:buFontTx/>
              <a:buChar char="-"/>
            </a:pPr>
            <a:endParaRPr lang="en-GB" dirty="0"/>
          </a:p>
          <a:p>
            <a:pPr marL="171450" indent="-171450">
              <a:buFontTx/>
              <a:buChar char="-"/>
            </a:pP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Using functions (from </a:t>
            </a:r>
            <a:r>
              <a:rPr lang="en-GB" dirty="0" err="1"/>
              <a:t>jupyter</a:t>
            </a:r>
            <a:r>
              <a:rPr lang="en-GB" dirty="0"/>
              <a:t> notebook cells)</a:t>
            </a:r>
          </a:p>
          <a:p>
            <a:pPr marL="171450" indent="-171450">
              <a:buFontTx/>
              <a:buChar char="-"/>
            </a:pPr>
            <a:r>
              <a:rPr lang="en-GB" dirty="0"/>
              <a:t>A pipeline flow </a:t>
            </a:r>
          </a:p>
          <a:p>
            <a:pPr marL="171450" indent="-171450">
              <a:buFontTx/>
              <a:buChar char="-"/>
            </a:pPr>
            <a:r>
              <a:rPr lang="en-GB" dirty="0"/>
              <a:t>- </a:t>
            </a:r>
            <a:r>
              <a:rPr lang="en-GB" b="1" i="0" dirty="0">
                <a:solidFill>
                  <a:srgbClr val="242424"/>
                </a:solidFill>
                <a:effectLst/>
                <a:latin typeface="source-serif-pro"/>
              </a:rPr>
              <a:t>Writing modular code involves breaking down larger tasks into smaller, self-contained functions. </a:t>
            </a:r>
            <a:r>
              <a:rPr lang="en-GB" b="0" i="0" dirty="0">
                <a:solidFill>
                  <a:srgbClr val="242424"/>
                </a:solidFill>
                <a:effectLst/>
                <a:latin typeface="source-serif-pro"/>
              </a:rPr>
              <a:t>Each function should perform a specific task and have a clear input and output. This makes it easier to test and debug individual functions, as well as reuse them in different parts of the code.</a:t>
            </a:r>
          </a:p>
          <a:p>
            <a:pPr marL="171450" indent="-171450">
              <a:buFontTx/>
              <a:buChar char="-"/>
            </a:pPr>
            <a:r>
              <a:rPr lang="en-GB" b="0" i="0" dirty="0">
                <a:effectLst/>
                <a:latin typeface="-apple-system"/>
              </a:rPr>
              <a:t>Each module typically focuses on a specific aspect of the project, such as data cleaning, feature extraction, model training, or result visualizati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251BC7-8DAD-8243-A208-CF51FDEB2DFD}" type="datetime3">
              <a:rPr lang="en-GB" smtClean="0"/>
              <a:t>11 August, 202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494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377F2710-A049-4EC0-8970-B7EE79B3E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EB903628-230E-4335-9FB9-A2B411A6AC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775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6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7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22.svg"/><Relationship Id="rId5" Type="http://schemas.openxmlformats.org/officeDocument/2006/relationships/tags" Target="../tags/tag68.xml"/><Relationship Id="rId10" Type="http://schemas.openxmlformats.org/officeDocument/2006/relationships/image" Target="../media/image21.png"/><Relationship Id="rId4" Type="http://schemas.openxmlformats.org/officeDocument/2006/relationships/tags" Target="../tags/tag67.xml"/><Relationship Id="rId9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26.svg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25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image" Target="../media/image24.svg"/><Relationship Id="rId5" Type="http://schemas.openxmlformats.org/officeDocument/2006/relationships/tags" Target="../tags/tag74.xml"/><Relationship Id="rId10" Type="http://schemas.openxmlformats.org/officeDocument/2006/relationships/image" Target="../media/image23.png"/><Relationship Id="rId4" Type="http://schemas.openxmlformats.org/officeDocument/2006/relationships/tags" Target="../tags/tag73.xml"/><Relationship Id="rId9" Type="http://schemas.openxmlformats.org/officeDocument/2006/relationships/image" Target="../media/image3.emf"/><Relationship Id="rId1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3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3.emf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22.sv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image" Target="../media/image21.png"/><Relationship Id="rId5" Type="http://schemas.openxmlformats.org/officeDocument/2006/relationships/tags" Target="../tags/tag89.xml"/><Relationship Id="rId10" Type="http://schemas.openxmlformats.org/officeDocument/2006/relationships/image" Target="../media/image3.emf"/><Relationship Id="rId4" Type="http://schemas.openxmlformats.org/officeDocument/2006/relationships/tags" Target="../tags/tag88.xml"/><Relationship Id="rId9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2.png"/><Relationship Id="rId5" Type="http://schemas.openxmlformats.org/officeDocument/2006/relationships/tags" Target="../tags/tag96.xml"/><Relationship Id="rId10" Type="http://schemas.openxmlformats.org/officeDocument/2006/relationships/image" Target="../media/image3.emf"/><Relationship Id="rId4" Type="http://schemas.openxmlformats.org/officeDocument/2006/relationships/tags" Target="../tags/tag95.xml"/><Relationship Id="rId9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17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28.sv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27.png"/><Relationship Id="rId5" Type="http://schemas.openxmlformats.org/officeDocument/2006/relationships/tags" Target="../tags/tag103.xml"/><Relationship Id="rId10" Type="http://schemas.openxmlformats.org/officeDocument/2006/relationships/image" Target="../media/image3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17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3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2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1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1.emf"/><Relationship Id="rId5" Type="http://schemas.openxmlformats.org/officeDocument/2006/relationships/tags" Target="../tags/tag126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25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12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11" Type="http://schemas.microsoft.com/office/2007/relationships/hdphoto" Target="../media/hdphoto1.wdp"/><Relationship Id="rId5" Type="http://schemas.openxmlformats.org/officeDocument/2006/relationships/image" Target="../media/image3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2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image" Target="../media/image1.emf"/><Relationship Id="rId5" Type="http://schemas.openxmlformats.org/officeDocument/2006/relationships/tags" Target="../tags/tag134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2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29.emf"/><Relationship Id="rId5" Type="http://schemas.openxmlformats.org/officeDocument/2006/relationships/tags" Target="../tags/tag142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1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image" Target="../media/image2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.emf"/><Relationship Id="rId5" Type="http://schemas.openxmlformats.org/officeDocument/2006/relationships/tags" Target="../tags/tag150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49.xml"/><Relationship Id="rId9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image" Target="../media/image2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.emf"/><Relationship Id="rId5" Type="http://schemas.openxmlformats.org/officeDocument/2006/relationships/tags" Target="../tags/tag158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7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image" Target="../media/image2.png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image" Target="../media/image1.emf"/><Relationship Id="rId5" Type="http://schemas.openxmlformats.org/officeDocument/2006/relationships/tags" Target="../tags/tag166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2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image" Target="../media/image1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2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29.emf"/><Relationship Id="rId5" Type="http://schemas.openxmlformats.org/officeDocument/2006/relationships/tags" Target="../tags/tag182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81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2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image" Target="../media/image1.emf"/><Relationship Id="rId5" Type="http://schemas.openxmlformats.org/officeDocument/2006/relationships/tags" Target="../tags/tag190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89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image" Target="../media/image2.png"/><Relationship Id="rId4" Type="http://schemas.openxmlformats.org/officeDocument/2006/relationships/tags" Target="../tags/tag197.xml"/><Relationship Id="rId9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2.xml"/><Relationship Id="rId7" Type="http://schemas.openxmlformats.org/officeDocument/2006/relationships/image" Target="../media/image3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12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1.png"/><Relationship Id="rId11" Type="http://schemas.microsoft.com/office/2007/relationships/hdphoto" Target="../media/hdphoto1.wdp"/><Relationship Id="rId5" Type="http://schemas.openxmlformats.org/officeDocument/2006/relationships/image" Target="../media/image3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sv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206.xml"/><Relationship Id="rId7" Type="http://schemas.openxmlformats.org/officeDocument/2006/relationships/image" Target="../media/image21.pn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7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09.xml"/><Relationship Id="rId7" Type="http://schemas.openxmlformats.org/officeDocument/2006/relationships/image" Target="../media/image30.emf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2.xml"/><Relationship Id="rId7" Type="http://schemas.openxmlformats.org/officeDocument/2006/relationships/image" Target="../media/image31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15.xml"/><Relationship Id="rId7" Type="http://schemas.openxmlformats.org/officeDocument/2006/relationships/image" Target="../media/image31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3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3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image" Target="../media/image1.emf"/><Relationship Id="rId4" Type="http://schemas.openxmlformats.org/officeDocument/2006/relationships/tags" Target="../tags/tag223.xml"/><Relationship Id="rId9" Type="http://schemas.openxmlformats.org/officeDocument/2006/relationships/oleObject" Target="../embeddings/oleObject32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0.svg"/><Relationship Id="rId3" Type="http://schemas.openxmlformats.org/officeDocument/2006/relationships/tags" Target="../tags/tag229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9.png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image" Target="../media/image35.svg"/><Relationship Id="rId5" Type="http://schemas.openxmlformats.org/officeDocument/2006/relationships/tags" Target="../tags/tag231.xml"/><Relationship Id="rId10" Type="http://schemas.openxmlformats.org/officeDocument/2006/relationships/image" Target="../media/image34.png"/><Relationship Id="rId4" Type="http://schemas.openxmlformats.org/officeDocument/2006/relationships/tags" Target="../tags/tag230.xml"/><Relationship Id="rId9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7.sv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10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svg"/><Relationship Id="rId12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3.png"/><Relationship Id="rId11" Type="http://schemas.microsoft.com/office/2007/relationships/hdphoto" Target="../media/hdphoto1.wdp"/><Relationship Id="rId5" Type="http://schemas.openxmlformats.org/officeDocument/2006/relationships/image" Target="../media/image3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10" Type="http://schemas.openxmlformats.org/officeDocument/2006/relationships/image" Target="../media/image41.sv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40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png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10" Type="http://schemas.openxmlformats.org/officeDocument/2006/relationships/image" Target="../media/image45.svg"/><Relationship Id="rId4" Type="http://schemas.openxmlformats.org/officeDocument/2006/relationships/oleObject" Target="../embeddings/oleObject37.bin"/><Relationship Id="rId9" Type="http://schemas.openxmlformats.org/officeDocument/2006/relationships/image" Target="../media/image44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5" Type="http://schemas.openxmlformats.org/officeDocument/2006/relationships/tags" Target="../tags/tag266.xml"/><Relationship Id="rId10" Type="http://schemas.openxmlformats.org/officeDocument/2006/relationships/image" Target="../media/image1.emf"/><Relationship Id="rId4" Type="http://schemas.openxmlformats.org/officeDocument/2006/relationships/tags" Target="../tags/tag265.xml"/><Relationship Id="rId9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0.svg"/><Relationship Id="rId3" Type="http://schemas.openxmlformats.org/officeDocument/2006/relationships/tags" Target="../tags/tag27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9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tags" Target="../tags/tag274.xml"/><Relationship Id="rId11" Type="http://schemas.openxmlformats.org/officeDocument/2006/relationships/image" Target="../media/image35.svg"/><Relationship Id="rId5" Type="http://schemas.openxmlformats.org/officeDocument/2006/relationships/tags" Target="../tags/tag273.xml"/><Relationship Id="rId10" Type="http://schemas.openxmlformats.org/officeDocument/2006/relationships/image" Target="../media/image34.png"/><Relationship Id="rId4" Type="http://schemas.openxmlformats.org/officeDocument/2006/relationships/tags" Target="../tags/tag272.xml"/><Relationship Id="rId9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27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5" Type="http://schemas.openxmlformats.org/officeDocument/2006/relationships/tags" Target="../tags/tag279.xml"/><Relationship Id="rId10" Type="http://schemas.openxmlformats.org/officeDocument/2006/relationships/image" Target="../media/image18.png"/><Relationship Id="rId4" Type="http://schemas.openxmlformats.org/officeDocument/2006/relationships/tags" Target="../tags/tag278.xml"/><Relationship Id="rId9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13" Type="http://schemas.openxmlformats.org/officeDocument/2006/relationships/image" Target="../media/image20.svg"/><Relationship Id="rId3" Type="http://schemas.openxmlformats.org/officeDocument/2006/relationships/tags" Target="../tags/tag283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9.png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image" Target="../media/image24.svg"/><Relationship Id="rId5" Type="http://schemas.openxmlformats.org/officeDocument/2006/relationships/tags" Target="../tags/tag285.xml"/><Relationship Id="rId10" Type="http://schemas.openxmlformats.org/officeDocument/2006/relationships/image" Target="../media/image23.png"/><Relationship Id="rId4" Type="http://schemas.openxmlformats.org/officeDocument/2006/relationships/tags" Target="../tags/tag284.xml"/><Relationship Id="rId9" Type="http://schemas.openxmlformats.org/officeDocument/2006/relationships/image" Target="../media/image3.emf"/><Relationship Id="rId1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89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5.png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image" Target="../media/image47.svg"/><Relationship Id="rId5" Type="http://schemas.openxmlformats.org/officeDocument/2006/relationships/tags" Target="../tags/tag291.xml"/><Relationship Id="rId10" Type="http://schemas.openxmlformats.org/officeDocument/2006/relationships/image" Target="../media/image46.png"/><Relationship Id="rId4" Type="http://schemas.openxmlformats.org/officeDocument/2006/relationships/tags" Target="../tags/tag290.xml"/><Relationship Id="rId9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5.xml"/><Relationship Id="rId7" Type="http://schemas.openxmlformats.org/officeDocument/2006/relationships/oleObject" Target="../embeddings/oleObject41.bin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7.xml"/><Relationship Id="rId10" Type="http://schemas.openxmlformats.org/officeDocument/2006/relationships/image" Target="../media/image49.svg"/><Relationship Id="rId4" Type="http://schemas.openxmlformats.org/officeDocument/2006/relationships/tags" Target="../tags/tag296.xml"/><Relationship Id="rId9" Type="http://schemas.openxmlformats.org/officeDocument/2006/relationships/image" Target="../media/image4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3.emf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5" Type="http://schemas.openxmlformats.org/officeDocument/2006/relationships/tags" Target="../tags/tag306.xml"/><Relationship Id="rId10" Type="http://schemas.openxmlformats.org/officeDocument/2006/relationships/image" Target="../media/image3.emf"/><Relationship Id="rId4" Type="http://schemas.openxmlformats.org/officeDocument/2006/relationships/tags" Target="../tags/tag305.xml"/><Relationship Id="rId9" Type="http://schemas.openxmlformats.org/officeDocument/2006/relationships/oleObject" Target="../embeddings/oleObject43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image" Target="../media/image3.emf"/><Relationship Id="rId4" Type="http://schemas.openxmlformats.org/officeDocument/2006/relationships/tags" Target="../tags/tag312.xml"/><Relationship Id="rId9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image" Target="../media/image51.sv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image" Target="../media/image50.png"/><Relationship Id="rId5" Type="http://schemas.openxmlformats.org/officeDocument/2006/relationships/tags" Target="../tags/tag320.xml"/><Relationship Id="rId10" Type="http://schemas.openxmlformats.org/officeDocument/2006/relationships/image" Target="../media/image3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5" Type="http://schemas.openxmlformats.org/officeDocument/2006/relationships/tags" Target="../tags/tag327.xml"/><Relationship Id="rId10" Type="http://schemas.openxmlformats.org/officeDocument/2006/relationships/image" Target="../media/image3.emf"/><Relationship Id="rId4" Type="http://schemas.openxmlformats.org/officeDocument/2006/relationships/tags" Target="../tags/tag326.xml"/><Relationship Id="rId9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3" Type="http://schemas.openxmlformats.org/officeDocument/2006/relationships/tags" Target="../tags/tag332.xml"/><Relationship Id="rId7" Type="http://schemas.openxmlformats.org/officeDocument/2006/relationships/tags" Target="../tags/tag336.xml"/><Relationship Id="rId12" Type="http://schemas.openxmlformats.org/officeDocument/2006/relationships/image" Target="../media/image2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11" Type="http://schemas.openxmlformats.org/officeDocument/2006/relationships/image" Target="../media/image1.emf"/><Relationship Id="rId5" Type="http://schemas.openxmlformats.org/officeDocument/2006/relationships/tags" Target="../tags/tag334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33.xml"/><Relationship Id="rId9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2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image" Target="../media/image1.emf"/><Relationship Id="rId5" Type="http://schemas.openxmlformats.org/officeDocument/2006/relationships/tags" Target="../tags/tag342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41.xml"/><Relationship Id="rId9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image" Target="../media/image2.png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image" Target="../media/image3.emf"/><Relationship Id="rId5" Type="http://schemas.openxmlformats.org/officeDocument/2006/relationships/tags" Target="../tags/tag350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49.xml"/><Relationship Id="rId9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image" Target="../media/image2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image" Target="../media/image1.emf"/><Relationship Id="rId5" Type="http://schemas.openxmlformats.org/officeDocument/2006/relationships/tags" Target="../tags/tag358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57.xml"/><Relationship Id="rId9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image" Target="../media/image2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image" Target="../media/image3.emf"/><Relationship Id="rId5" Type="http://schemas.openxmlformats.org/officeDocument/2006/relationships/tags" Target="../tags/tag366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65.xml"/><Relationship Id="rId9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5.png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image" Target="../media/image3.emf"/><Relationship Id="rId5" Type="http://schemas.openxmlformats.org/officeDocument/2006/relationships/tags" Target="../tags/tag374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373.xml"/><Relationship Id="rId9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3" Type="http://schemas.openxmlformats.org/officeDocument/2006/relationships/tags" Target="../tags/tag380.xml"/><Relationship Id="rId7" Type="http://schemas.openxmlformats.org/officeDocument/2006/relationships/tags" Target="../tags/tag384.xml"/><Relationship Id="rId12" Type="http://schemas.openxmlformats.org/officeDocument/2006/relationships/image" Target="../media/image5.png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tags" Target="../tags/tag383.xml"/><Relationship Id="rId11" Type="http://schemas.openxmlformats.org/officeDocument/2006/relationships/image" Target="../media/image1.emf"/><Relationship Id="rId5" Type="http://schemas.openxmlformats.org/officeDocument/2006/relationships/tags" Target="../tags/tag382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381.xml"/><Relationship Id="rId9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17.png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12" Type="http://schemas.openxmlformats.org/officeDocument/2006/relationships/image" Target="../media/image5.png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11" Type="http://schemas.openxmlformats.org/officeDocument/2006/relationships/image" Target="../media/image3.emf"/><Relationship Id="rId5" Type="http://schemas.openxmlformats.org/officeDocument/2006/relationships/tags" Target="../tags/tag390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389.xml"/><Relationship Id="rId9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39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10" Type="http://schemas.openxmlformats.org/officeDocument/2006/relationships/image" Target="../media/image5.png"/><Relationship Id="rId4" Type="http://schemas.openxmlformats.org/officeDocument/2006/relationships/tags" Target="../tags/tag397.xml"/><Relationship Id="rId9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02.xml"/><Relationship Id="rId7" Type="http://schemas.openxmlformats.org/officeDocument/2006/relationships/image" Target="../media/image3.emf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5.png"/><Relationship Id="rId3" Type="http://schemas.openxmlformats.org/officeDocument/2006/relationships/tags" Target="../tags/tag406.xml"/><Relationship Id="rId7" Type="http://schemas.openxmlformats.org/officeDocument/2006/relationships/image" Target="../media/image34.png"/><Relationship Id="rId12" Type="http://schemas.openxmlformats.org/officeDocument/2006/relationships/image" Target="../media/image53.sv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3.e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20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9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7" Type="http://schemas.openxmlformats.org/officeDocument/2006/relationships/image" Target="../media/image5.png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tags" Target="../tags/tag414.xml"/><Relationship Id="rId7" Type="http://schemas.openxmlformats.org/officeDocument/2006/relationships/image" Target="../media/image50.png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image" Target="../media/image5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18.png"/><Relationship Id="rId4" Type="http://schemas.openxmlformats.org/officeDocument/2006/relationships/tags" Target="../tags/tag49.xml"/><Relationship Id="rId9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0.svg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9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8.svg"/><Relationship Id="rId5" Type="http://schemas.openxmlformats.org/officeDocument/2006/relationships/tags" Target="../tags/tag56.xml"/><Relationship Id="rId10" Type="http://schemas.openxmlformats.org/officeDocument/2006/relationships/image" Target="../media/image7.png"/><Relationship Id="rId4" Type="http://schemas.openxmlformats.org/officeDocument/2006/relationships/tags" Target="../tags/tag55.xml"/><Relationship Id="rId9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22.svg"/><Relationship Id="rId5" Type="http://schemas.openxmlformats.org/officeDocument/2006/relationships/tags" Target="../tags/tag62.xml"/><Relationship Id="rId10" Type="http://schemas.openxmlformats.org/officeDocument/2006/relationships/image" Target="../media/image21.png"/><Relationship Id="rId4" Type="http://schemas.openxmlformats.org/officeDocument/2006/relationships/tags" Target="../tags/tag61.xml"/><Relationship Id="rId9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759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1B26E723-2481-4793-BBF4-CBA26FB300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7DAA961-40E9-4F6D-BA97-E2A76A2187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</p:spPr>
        <p:txBody>
          <a:bodyPr wrap="square">
            <a:spAutoFit/>
          </a:bodyPr>
          <a:lstStyle>
            <a:lvl1pPr>
              <a:defRPr sz="1200">
                <a:solidFill>
                  <a:srgbClr val="7F7F7F"/>
                </a:solidFill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A9F405D-33CA-43EB-A771-E665B679BF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GB" altLang="zh-CN">
                <a:latin typeface="Inter SemiBold" panose="02000503000000020004" pitchFamily="2" charset="0"/>
                <a:ea typeface="Inter SemiBold" panose="02000503000000020004" pitchFamily="2" charset="0"/>
              </a:rPr>
              <a:t>Click to edit Master subtitle style</a:t>
            </a:r>
            <a:endParaRPr lang="en-US" dirty="0">
              <a:latin typeface="Inter SemiBold" panose="02000503000000020004" pitchFamily="2" charset="0"/>
              <a:ea typeface="Inter SemiBold" panose="02000503000000020004" pitchFamily="2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A416F3-4E19-4ABB-AEAE-2CA8886815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9058782-421D-4121-AF51-8185A6B47053}"/>
              </a:ext>
            </a:extLst>
          </p:cNvPr>
          <p:cNvGrpSpPr/>
          <p:nvPr userDrawn="1"/>
        </p:nvGrpSpPr>
        <p:grpSpPr>
          <a:xfrm>
            <a:off x="543811" y="405498"/>
            <a:ext cx="942915" cy="325431"/>
            <a:chOff x="543812" y="405498"/>
            <a:chExt cx="942915" cy="32543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C2F5587-C868-43A1-8E08-D8A4B07340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l="31439"/>
            <a:stretch/>
          </p:blipFill>
          <p:spPr>
            <a:xfrm>
              <a:off x="840260" y="405498"/>
              <a:ext cx="646467" cy="32543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50A9410-678D-4FF3-9420-62D0B147F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68560"/>
            <a:stretch/>
          </p:blipFill>
          <p:spPr>
            <a:xfrm>
              <a:off x="543812" y="405498"/>
              <a:ext cx="296448" cy="325431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08247-2ED1-4479-83A8-F4C67A71B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r="37619"/>
          <a:stretch/>
        </p:blipFill>
        <p:spPr>
          <a:xfrm>
            <a:off x="6471505" y="0"/>
            <a:ext cx="5720495" cy="6858000"/>
          </a:xfrm>
          <a:prstGeom prst="rect">
            <a:avLst/>
          </a:prstGeom>
        </p:spPr>
      </p:pic>
      <p:sp>
        <p:nvSpPr>
          <p:cNvPr id="16" name="Disclaimer-English (United States)">
            <a:extLst>
              <a:ext uri="{FF2B5EF4-FFF2-40B4-BE49-F238E27FC236}">
                <a16:creationId xmlns:a16="http://schemas.microsoft.com/office/drawing/2014/main" id="{D2796D8A-C03C-4799-8503-C1D58684D99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7851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ACB26EC-E063-4465-994C-353B57C446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4A896D-18B5-4732-A04A-2CF76840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62200" t="27200" b="27800"/>
          <a:stretch/>
        </p:blipFill>
        <p:spPr>
          <a:xfrm>
            <a:off x="0" y="0"/>
            <a:ext cx="576072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9A71EC7-36DC-42BB-8EAA-8D27F8C5CEEE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400" y="6455559"/>
            <a:ext cx="651600" cy="224888"/>
          </a:xfrm>
          <a:prstGeom prst="rect">
            <a:avLst/>
          </a:prstGeom>
        </p:spPr>
      </p:pic>
      <p:sp>
        <p:nvSpPr>
          <p:cNvPr id="20" name="2. Slide Title">
            <a:extLst>
              <a:ext uri="{FF2B5EF4-FFF2-40B4-BE49-F238E27FC236}">
                <a16:creationId xmlns:a16="http://schemas.microsoft.com/office/drawing/2014/main" id="{393C4419-7CDE-4B71-91A3-402309242A0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736" y="2875003"/>
            <a:ext cx="5065776" cy="1107996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 sz="3600"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zh-CN" dirty="0"/>
              <a:t>Click to edit </a:t>
            </a:r>
            <a:br>
              <a:rPr lang="en-US" altLang="zh-CN" dirty="0"/>
            </a:br>
            <a:r>
              <a:rPr lang="en-US" altLang="zh-CN" dirty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833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9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550751"/>
            <a:ext cx="5065776" cy="1107996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 sz="3600"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타원 59">
            <a:extLst>
              <a:ext uri="{FF2B5EF4-FFF2-40B4-BE49-F238E27FC236}">
                <a16:creationId xmlns:a16="http://schemas.microsoft.com/office/drawing/2014/main" id="{9BD7EAE9-7241-4B80-ADE5-1A02B550CDCA}"/>
              </a:ext>
            </a:extLst>
          </p:cNvPr>
          <p:cNvSpPr/>
          <p:nvPr userDrawn="1"/>
        </p:nvSpPr>
        <p:spPr>
          <a:xfrm rot="18900000" flipH="1">
            <a:off x="2810373" y="4648094"/>
            <a:ext cx="915338" cy="915338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2FCA24-D0A4-4669-B4D0-86153AF1109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-1" y="3703898"/>
            <a:ext cx="3165675" cy="316567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47CC4257-2BCA-4705-BF58-FD1ED34ADCD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11099">
            <a:off x="3283539" y="5632358"/>
            <a:ext cx="1041083" cy="1046965"/>
          </a:xfrm>
          <a:prstGeom prst="rect">
            <a:avLst/>
          </a:prstGeom>
        </p:spPr>
      </p:pic>
      <p:sp>
        <p:nvSpPr>
          <p:cNvPr id="13" name="자유형: 도형 63">
            <a:extLst>
              <a:ext uri="{FF2B5EF4-FFF2-40B4-BE49-F238E27FC236}">
                <a16:creationId xmlns:a16="http://schemas.microsoft.com/office/drawing/2014/main" id="{EDE08ED0-9160-4A0F-BBC9-EF6740FBD39B}"/>
              </a:ext>
            </a:extLst>
          </p:cNvPr>
          <p:cNvSpPr/>
          <p:nvPr userDrawn="1"/>
        </p:nvSpPr>
        <p:spPr>
          <a:xfrm>
            <a:off x="4111191" y="6248843"/>
            <a:ext cx="1218315" cy="609157"/>
          </a:xfrm>
          <a:custGeom>
            <a:avLst/>
            <a:gdLst>
              <a:gd name="connsiteX0" fmla="*/ 685800 w 1371600"/>
              <a:gd name="connsiteY0" fmla="*/ 0 h 685800"/>
              <a:gd name="connsiteX1" fmla="*/ 1371600 w 1371600"/>
              <a:gd name="connsiteY1" fmla="*/ 685800 h 685800"/>
              <a:gd name="connsiteX2" fmla="*/ 0 w 1371600"/>
              <a:gd name="connsiteY2" fmla="*/ 685800 h 685800"/>
              <a:gd name="connsiteX3" fmla="*/ 685800 w 1371600"/>
              <a:gd name="connsiteY3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1600" h="685800">
                <a:moveTo>
                  <a:pt x="685800" y="0"/>
                </a:moveTo>
                <a:cubicBezTo>
                  <a:pt x="1064557" y="0"/>
                  <a:pt x="1371600" y="307043"/>
                  <a:pt x="1371600" y="685800"/>
                </a:cubicBezTo>
                <a:lnTo>
                  <a:pt x="0" y="685800"/>
                </a:lnTo>
                <a:cubicBezTo>
                  <a:pt x="0" y="307043"/>
                  <a:pt x="307043" y="0"/>
                  <a:pt x="6858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A032C4D-F615-4833-96D9-5FB3B945F2FA}"/>
              </a:ext>
            </a:extLst>
          </p:cNvPr>
          <p:cNvPicPr>
            <a:picLocks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655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9398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49D8B86-4C47-440B-B77B-71F8E6DE7916}"/>
              </a:ext>
            </a:extLst>
          </p:cNvPr>
          <p:cNvGrpSpPr/>
          <p:nvPr userDrawn="1"/>
        </p:nvGrpSpPr>
        <p:grpSpPr>
          <a:xfrm>
            <a:off x="-70511" y="0"/>
            <a:ext cx="3836995" cy="4566462"/>
            <a:chOff x="-70511" y="0"/>
            <a:chExt cx="3836995" cy="4566462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98F57CC-8CBD-4936-95B3-17BE0F27883D}"/>
                </a:ext>
              </a:extLst>
            </p:cNvPr>
            <p:cNvSpPr/>
            <p:nvPr userDrawn="1"/>
          </p:nvSpPr>
          <p:spPr>
            <a:xfrm>
              <a:off x="1" y="0"/>
              <a:ext cx="3766483" cy="4566462"/>
            </a:xfrm>
            <a:custGeom>
              <a:avLst/>
              <a:gdLst>
                <a:gd name="connsiteX0" fmla="*/ 0 w 3766483"/>
                <a:gd name="connsiteY0" fmla="*/ 0 h 4566462"/>
                <a:gd name="connsiteX1" fmla="*/ 2467114 w 3766483"/>
                <a:gd name="connsiteY1" fmla="*/ 0 h 4566462"/>
                <a:gd name="connsiteX2" fmla="*/ 3766483 w 3766483"/>
                <a:gd name="connsiteY2" fmla="*/ 2848112 h 4566462"/>
                <a:gd name="connsiteX3" fmla="*/ 0 w 3766483"/>
                <a:gd name="connsiteY3" fmla="*/ 4566462 h 4566462"/>
                <a:gd name="connsiteX4" fmla="*/ 0 w 3766483"/>
                <a:gd name="connsiteY4" fmla="*/ 0 h 456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6483" h="4566462">
                  <a:moveTo>
                    <a:pt x="0" y="0"/>
                  </a:moveTo>
                  <a:lnTo>
                    <a:pt x="2467114" y="0"/>
                  </a:lnTo>
                  <a:lnTo>
                    <a:pt x="3766483" y="2848112"/>
                  </a:lnTo>
                  <a:lnTo>
                    <a:pt x="0" y="45664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C039A28-30CC-4388-812F-BCCA936A98D4}"/>
                </a:ext>
              </a:extLst>
            </p:cNvPr>
            <p:cNvSpPr/>
            <p:nvPr userDrawn="1"/>
          </p:nvSpPr>
          <p:spPr>
            <a:xfrm rot="20128591">
              <a:off x="-70511" y="378542"/>
              <a:ext cx="3309545" cy="3309545"/>
            </a:xfrm>
            <a:custGeom>
              <a:avLst/>
              <a:gdLst>
                <a:gd name="connsiteX0" fmla="*/ 2926418 w 3309545"/>
                <a:gd name="connsiteY0" fmla="*/ 0 h 3309545"/>
                <a:gd name="connsiteX1" fmla="*/ 3309545 w 3309545"/>
                <a:gd name="connsiteY1" fmla="*/ 174791 h 3309545"/>
                <a:gd name="connsiteX2" fmla="*/ 3309545 w 3309545"/>
                <a:gd name="connsiteY2" fmla="*/ 3309545 h 3309545"/>
                <a:gd name="connsiteX3" fmla="*/ 0 w 3309545"/>
                <a:gd name="connsiteY3" fmla="*/ 3309545 h 3309545"/>
                <a:gd name="connsiteX4" fmla="*/ 0 w 3309545"/>
                <a:gd name="connsiteY4" fmla="*/ 1465010 h 3309545"/>
                <a:gd name="connsiteX5" fmla="*/ 668369 w 3309545"/>
                <a:gd name="connsiteY5" fmla="*/ 0 h 3309545"/>
                <a:gd name="connsiteX6" fmla="*/ 2926418 w 3309545"/>
                <a:gd name="connsiteY6" fmla="*/ 0 h 330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09545" h="3309545">
                  <a:moveTo>
                    <a:pt x="2926418" y="0"/>
                  </a:moveTo>
                  <a:lnTo>
                    <a:pt x="3309545" y="174791"/>
                  </a:lnTo>
                  <a:lnTo>
                    <a:pt x="3309545" y="3309545"/>
                  </a:lnTo>
                  <a:lnTo>
                    <a:pt x="0" y="3309545"/>
                  </a:lnTo>
                  <a:lnTo>
                    <a:pt x="0" y="1465010"/>
                  </a:lnTo>
                  <a:lnTo>
                    <a:pt x="668369" y="0"/>
                  </a:lnTo>
                  <a:lnTo>
                    <a:pt x="2926418" y="0"/>
                  </a:lnTo>
                  <a:close/>
                </a:path>
              </a:pathLst>
            </a:custGeom>
            <a:solidFill>
              <a:srgbClr val="FFDC60"/>
            </a:solidFill>
            <a:ln w="100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B5B6CF-8018-4110-BFE7-9AB01922F5ED}"/>
                </a:ext>
              </a:extLst>
            </p:cNvPr>
            <p:cNvSpPr/>
            <p:nvPr/>
          </p:nvSpPr>
          <p:spPr>
            <a:xfrm rot="20128591">
              <a:off x="1218937" y="1206133"/>
              <a:ext cx="2204524" cy="2204524"/>
            </a:xfrm>
            <a:custGeom>
              <a:avLst/>
              <a:gdLst>
                <a:gd name="connsiteX0" fmla="*/ 0 w 2204524"/>
                <a:gd name="connsiteY0" fmla="*/ 0 h 2204524"/>
                <a:gd name="connsiteX1" fmla="*/ 2204524 w 2204524"/>
                <a:gd name="connsiteY1" fmla="*/ 0 h 2204524"/>
                <a:gd name="connsiteX2" fmla="*/ 2204524 w 2204524"/>
                <a:gd name="connsiteY2" fmla="*/ 2204525 h 2204524"/>
                <a:gd name="connsiteX3" fmla="*/ 0 w 2204524"/>
                <a:gd name="connsiteY3" fmla="*/ 2204525 h 220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4524" h="2204524">
                  <a:moveTo>
                    <a:pt x="0" y="0"/>
                  </a:moveTo>
                  <a:lnTo>
                    <a:pt x="2204524" y="0"/>
                  </a:lnTo>
                  <a:lnTo>
                    <a:pt x="2204524" y="2204525"/>
                  </a:lnTo>
                  <a:lnTo>
                    <a:pt x="0" y="2204525"/>
                  </a:lnTo>
                  <a:close/>
                </a:path>
              </a:pathLst>
            </a:custGeom>
            <a:solidFill>
              <a:srgbClr val="FFE590"/>
            </a:solidFill>
            <a:ln w="100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0B4B3EA-9C1F-4F9D-93AC-3465B78BF9A5}"/>
                </a:ext>
              </a:extLst>
            </p:cNvPr>
            <p:cNvSpPr/>
            <p:nvPr/>
          </p:nvSpPr>
          <p:spPr>
            <a:xfrm rot="20128591">
              <a:off x="2508497" y="2033844"/>
              <a:ext cx="1099605" cy="1099605"/>
            </a:xfrm>
            <a:custGeom>
              <a:avLst/>
              <a:gdLst>
                <a:gd name="connsiteX0" fmla="*/ 0 w 1099605"/>
                <a:gd name="connsiteY0" fmla="*/ 0 h 1099605"/>
                <a:gd name="connsiteX1" fmla="*/ 1099605 w 1099605"/>
                <a:gd name="connsiteY1" fmla="*/ 0 h 1099605"/>
                <a:gd name="connsiteX2" fmla="*/ 1099605 w 1099605"/>
                <a:gd name="connsiteY2" fmla="*/ 1099605 h 1099605"/>
                <a:gd name="connsiteX3" fmla="*/ 0 w 1099605"/>
                <a:gd name="connsiteY3" fmla="*/ 1099605 h 1099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9605" h="1099605">
                  <a:moveTo>
                    <a:pt x="0" y="0"/>
                  </a:moveTo>
                  <a:lnTo>
                    <a:pt x="1099605" y="0"/>
                  </a:lnTo>
                  <a:lnTo>
                    <a:pt x="1099605" y="1099605"/>
                  </a:lnTo>
                  <a:lnTo>
                    <a:pt x="0" y="1099605"/>
                  </a:lnTo>
                  <a:close/>
                </a:path>
              </a:pathLst>
            </a:custGeom>
            <a:solidFill>
              <a:srgbClr val="FFEEC0"/>
            </a:solidFill>
            <a:ln w="100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14319E-8659-4273-BE50-9B222319E5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8374" y="4199835"/>
            <a:ext cx="7422451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F610199-A9AE-4018-AC65-C30DE121C4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12337" y="3587590"/>
            <a:ext cx="7422451" cy="343492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US" sz="2400" b="1" i="0" spc="0" baseline="0" dirty="0">
                <a:ln w="6350" cap="flat">
                  <a:noFill/>
                  <a:miter lim="800000"/>
                </a:ln>
                <a:latin typeface="Inter SemiBold" panose="02000503000000020004" pitchFamily="2" charset="0"/>
                <a:ea typeface="Inter SemiBold" panose="02000503000000020004" pitchFamily="2" charset="0"/>
                <a:cs typeface="Inter" panose="02000503000000020004" pitchFamily="2" charset="0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1EE3B48-853A-4C0B-A691-B163AEC004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336" y="1819558"/>
            <a:ext cx="2186496" cy="1975028"/>
          </a:xfrm>
        </p:spPr>
        <p:txBody>
          <a:bodyPr vert="horz" wrap="none" lIns="0" tIns="0" rIns="0" bIns="0" rtlCol="0" anchor="b" anchorCtr="0">
            <a:spAutoFit/>
          </a:bodyPr>
          <a:lstStyle>
            <a:lvl1pPr>
              <a:defRPr lang="en-US" sz="13800" i="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  <a:cs typeface="Inter" panose="02000503000000020004" pitchFamily="2" charset="0"/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958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3844F0E-4433-4DDA-88E9-1E85BE9E12E6}"/>
              </a:ext>
            </a:extLst>
          </p:cNvPr>
          <p:cNvGrpSpPr/>
          <p:nvPr userDrawn="1"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72A1DF8-8E21-46F8-B444-FCD191184E3E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C110A0-6C50-4188-9F6D-FAF6886CBE8E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DB51A8D-0F8E-4F6D-8B81-C1D150DE5B02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81F6FE1-05E3-45DC-97EC-B05C1DEDA355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D3C717FB-299B-419C-9F4A-F0C027F1B416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471FA3D-2E7C-4D16-9896-0C6744876EBA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C024D10-9CFD-440A-8970-8FD18DD38B7F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EF75445-49E6-4FB6-A47C-F18909A81218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CF82A1E-0528-4933-BC23-C75FC9A47AAB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F2F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B7D7F3A-ADCB-4725-8F3B-88FF953E0F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217" y="3137952"/>
            <a:ext cx="6858572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85DD4448-4A93-4D30-A09E-55C9796400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4737" y="4157861"/>
            <a:ext cx="2186496" cy="343492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US" sz="2400" b="1" i="0" spc="0" baseline="0" dirty="0">
                <a:ln w="6350" cap="flat">
                  <a:noFill/>
                  <a:miter lim="800000"/>
                </a:ln>
                <a:latin typeface="Inter SemiBold" panose="02000503000000020004" pitchFamily="2" charset="0"/>
                <a:ea typeface="Inter SemiBold" panose="02000503000000020004" pitchFamily="2" charset="0"/>
                <a:cs typeface="Inter" panose="02000503000000020004" pitchFamily="2" charset="0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2F7430A-9CDA-49D0-8FBD-2A0EBA8145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2389829"/>
            <a:ext cx="2186496" cy="1975028"/>
          </a:xfrm>
        </p:spPr>
        <p:txBody>
          <a:bodyPr vert="horz" wrap="none" lIns="0" tIns="0" rIns="0" bIns="0" rtlCol="0" anchor="b" anchorCtr="0">
            <a:noAutofit/>
          </a:bodyPr>
          <a:lstStyle>
            <a:lvl1pPr>
              <a:defRPr lang="en-US" sz="13800" i="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  <a:cs typeface="Inter" panose="02000503000000020004" pitchFamily="2" charset="0"/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0243046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316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D9344951-6056-4ADF-B691-7FC2B7507A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20111" b="20917"/>
          <a:stretch/>
        </p:blipFill>
        <p:spPr>
          <a:xfrm>
            <a:off x="281354" y="0"/>
            <a:ext cx="11629292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5F5D40F-2B2F-43E1-8F0B-5851D0A80442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BAD187B-B99F-43BB-8830-79C325CE968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1D97CAB-187C-44A5-B171-10C41448563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3B9F34-6AF0-4DE0-A690-865A3B8A4B3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39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708CB9A-54AB-423C-8E6C-B12E24069ECF}"/>
              </a:ext>
            </a:extLst>
          </p:cNvPr>
          <p:cNvSpPr/>
          <p:nvPr userDrawn="1"/>
        </p:nvSpPr>
        <p:spPr>
          <a:xfrm>
            <a:off x="1356286" y="2038280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aphic 33">
            <a:extLst>
              <a:ext uri="{FF2B5EF4-FFF2-40B4-BE49-F238E27FC236}">
                <a16:creationId xmlns:a16="http://schemas.microsoft.com/office/drawing/2014/main" id="{590D6818-7102-43EE-8406-B887B7606CDC}"/>
              </a:ext>
            </a:extLst>
          </p:cNvPr>
          <p:cNvGrpSpPr/>
          <p:nvPr userDrawn="1"/>
        </p:nvGrpSpPr>
        <p:grpSpPr>
          <a:xfrm>
            <a:off x="1356286" y="4492867"/>
            <a:ext cx="324073" cy="324194"/>
            <a:chOff x="1447630" y="5547551"/>
            <a:chExt cx="324073" cy="324194"/>
          </a:xfrm>
          <a:solidFill>
            <a:srgbClr val="FFC900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E770F77-80AA-48B1-B563-5AA8490E17C6}"/>
                </a:ext>
              </a:extLst>
            </p:cNvPr>
            <p:cNvSpPr/>
            <p:nvPr/>
          </p:nvSpPr>
          <p:spPr>
            <a:xfrm>
              <a:off x="1447660" y="5547551"/>
              <a:ext cx="324042" cy="324194"/>
            </a:xfrm>
            <a:custGeom>
              <a:avLst/>
              <a:gdLst>
                <a:gd name="connsiteX0" fmla="*/ 324013 w 324042"/>
                <a:gd name="connsiteY0" fmla="*/ 43282 h 324194"/>
                <a:gd name="connsiteX1" fmla="*/ 321571 w 324042"/>
                <a:gd name="connsiteY1" fmla="*/ 45452 h 324194"/>
                <a:gd name="connsiteX2" fmla="*/ 45151 w 324042"/>
                <a:gd name="connsiteY2" fmla="*/ 321933 h 324194"/>
                <a:gd name="connsiteX3" fmla="*/ 39695 w 324042"/>
                <a:gd name="connsiteY3" fmla="*/ 324194 h 324194"/>
                <a:gd name="connsiteX4" fmla="*/ 3346 w 324042"/>
                <a:gd name="connsiteY4" fmla="*/ 324133 h 324194"/>
                <a:gd name="connsiteX5" fmla="*/ 0 w 324042"/>
                <a:gd name="connsiteY5" fmla="*/ 324133 h 324194"/>
                <a:gd name="connsiteX6" fmla="*/ 0 w 324042"/>
                <a:gd name="connsiteY6" fmla="*/ 320547 h 324194"/>
                <a:gd name="connsiteX7" fmla="*/ 995 w 324042"/>
                <a:gd name="connsiteY7" fmla="*/ 319281 h 324194"/>
                <a:gd name="connsiteX8" fmla="*/ 3225 w 324042"/>
                <a:gd name="connsiteY8" fmla="*/ 316869 h 324194"/>
                <a:gd name="connsiteX9" fmla="*/ 317653 w 324042"/>
                <a:gd name="connsiteY9" fmla="*/ 2441 h 324194"/>
                <a:gd name="connsiteX10" fmla="*/ 319823 w 324042"/>
                <a:gd name="connsiteY10" fmla="*/ 0 h 324194"/>
                <a:gd name="connsiteX11" fmla="*/ 324043 w 324042"/>
                <a:gd name="connsiteY11" fmla="*/ 0 h 324194"/>
                <a:gd name="connsiteX12" fmla="*/ 324043 w 324042"/>
                <a:gd name="connsiteY12" fmla="*/ 43312 h 32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042" h="324194">
                  <a:moveTo>
                    <a:pt x="324013" y="43282"/>
                  </a:moveTo>
                  <a:cubicBezTo>
                    <a:pt x="323199" y="44005"/>
                    <a:pt x="322355" y="44669"/>
                    <a:pt x="321571" y="45452"/>
                  </a:cubicBezTo>
                  <a:cubicBezTo>
                    <a:pt x="229401" y="137592"/>
                    <a:pt x="137261" y="229733"/>
                    <a:pt x="45151" y="321933"/>
                  </a:cubicBezTo>
                  <a:cubicBezTo>
                    <a:pt x="43523" y="323561"/>
                    <a:pt x="41956" y="324224"/>
                    <a:pt x="39695" y="324194"/>
                  </a:cubicBezTo>
                  <a:cubicBezTo>
                    <a:pt x="27579" y="324103"/>
                    <a:pt x="15462" y="324133"/>
                    <a:pt x="3346" y="324133"/>
                  </a:cubicBezTo>
                  <a:lnTo>
                    <a:pt x="0" y="324133"/>
                  </a:lnTo>
                  <a:cubicBezTo>
                    <a:pt x="0" y="322717"/>
                    <a:pt x="0" y="321632"/>
                    <a:pt x="0" y="320547"/>
                  </a:cubicBezTo>
                  <a:cubicBezTo>
                    <a:pt x="332" y="320125"/>
                    <a:pt x="663" y="319703"/>
                    <a:pt x="995" y="319281"/>
                  </a:cubicBezTo>
                  <a:cubicBezTo>
                    <a:pt x="1748" y="318467"/>
                    <a:pt x="2441" y="317653"/>
                    <a:pt x="3225" y="316869"/>
                  </a:cubicBezTo>
                  <a:cubicBezTo>
                    <a:pt x="108024" y="212070"/>
                    <a:pt x="212854" y="107241"/>
                    <a:pt x="317653" y="2441"/>
                  </a:cubicBezTo>
                  <a:cubicBezTo>
                    <a:pt x="318407" y="1688"/>
                    <a:pt x="319100" y="814"/>
                    <a:pt x="319823" y="0"/>
                  </a:cubicBezTo>
                  <a:cubicBezTo>
                    <a:pt x="321240" y="0"/>
                    <a:pt x="322626" y="0"/>
                    <a:pt x="324043" y="0"/>
                  </a:cubicBezTo>
                  <a:lnTo>
                    <a:pt x="324043" y="4331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28CF2D-EDF5-4DD3-809E-694136ADB6EE}"/>
                </a:ext>
              </a:extLst>
            </p:cNvPr>
            <p:cNvSpPr/>
            <p:nvPr/>
          </p:nvSpPr>
          <p:spPr>
            <a:xfrm>
              <a:off x="1447660" y="5547551"/>
              <a:ext cx="274702" cy="274250"/>
            </a:xfrm>
            <a:custGeom>
              <a:avLst/>
              <a:gdLst>
                <a:gd name="connsiteX0" fmla="*/ 274703 w 274702"/>
                <a:gd name="connsiteY0" fmla="*/ 0 h 274250"/>
                <a:gd name="connsiteX1" fmla="*/ 272774 w 274702"/>
                <a:gd name="connsiteY1" fmla="*/ 2230 h 274250"/>
                <a:gd name="connsiteX2" fmla="*/ 2954 w 274702"/>
                <a:gd name="connsiteY2" fmla="*/ 272050 h 274250"/>
                <a:gd name="connsiteX3" fmla="*/ 512 w 274702"/>
                <a:gd name="connsiteY3" fmla="*/ 274250 h 274250"/>
                <a:gd name="connsiteX4" fmla="*/ 0 w 274702"/>
                <a:gd name="connsiteY4" fmla="*/ 274220 h 274250"/>
                <a:gd name="connsiteX5" fmla="*/ 0 w 274702"/>
                <a:gd name="connsiteY5" fmla="*/ 228557 h 274250"/>
                <a:gd name="connsiteX6" fmla="*/ 1085 w 274702"/>
                <a:gd name="connsiteY6" fmla="*/ 227412 h 274250"/>
                <a:gd name="connsiteX7" fmla="*/ 2863 w 274702"/>
                <a:gd name="connsiteY7" fmla="*/ 225844 h 274250"/>
                <a:gd name="connsiteX8" fmla="*/ 226658 w 274702"/>
                <a:gd name="connsiteY8" fmla="*/ 2050 h 274250"/>
                <a:gd name="connsiteX9" fmla="*/ 228376 w 274702"/>
                <a:gd name="connsiteY9" fmla="*/ 30 h 274250"/>
                <a:gd name="connsiteX10" fmla="*/ 274672 w 274702"/>
                <a:gd name="connsiteY10" fmla="*/ 30 h 27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702" h="274250">
                  <a:moveTo>
                    <a:pt x="274703" y="0"/>
                  </a:moveTo>
                  <a:cubicBezTo>
                    <a:pt x="274070" y="754"/>
                    <a:pt x="273467" y="1537"/>
                    <a:pt x="272774" y="2230"/>
                  </a:cubicBezTo>
                  <a:cubicBezTo>
                    <a:pt x="182834" y="92170"/>
                    <a:pt x="92894" y="182110"/>
                    <a:pt x="2954" y="272050"/>
                  </a:cubicBezTo>
                  <a:cubicBezTo>
                    <a:pt x="2170" y="272834"/>
                    <a:pt x="1326" y="273527"/>
                    <a:pt x="512" y="274250"/>
                  </a:cubicBezTo>
                  <a:cubicBezTo>
                    <a:pt x="332" y="274250"/>
                    <a:pt x="181" y="274250"/>
                    <a:pt x="0" y="274220"/>
                  </a:cubicBezTo>
                  <a:cubicBezTo>
                    <a:pt x="0" y="258999"/>
                    <a:pt x="0" y="243778"/>
                    <a:pt x="0" y="228557"/>
                  </a:cubicBezTo>
                  <a:cubicBezTo>
                    <a:pt x="362" y="228165"/>
                    <a:pt x="723" y="227804"/>
                    <a:pt x="1085" y="227412"/>
                  </a:cubicBezTo>
                  <a:cubicBezTo>
                    <a:pt x="1688" y="226899"/>
                    <a:pt x="2321" y="226387"/>
                    <a:pt x="2863" y="225844"/>
                  </a:cubicBezTo>
                  <a:cubicBezTo>
                    <a:pt x="77462" y="151246"/>
                    <a:pt x="152060" y="76648"/>
                    <a:pt x="226658" y="2050"/>
                  </a:cubicBezTo>
                  <a:cubicBezTo>
                    <a:pt x="227291" y="1417"/>
                    <a:pt x="227804" y="693"/>
                    <a:pt x="228376" y="30"/>
                  </a:cubicBezTo>
                  <a:cubicBezTo>
                    <a:pt x="243808" y="30"/>
                    <a:pt x="259240" y="30"/>
                    <a:pt x="274672" y="3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BAC0200-1821-4A19-89D8-CB08E7A258F1}"/>
                </a:ext>
              </a:extLst>
            </p:cNvPr>
            <p:cNvSpPr/>
            <p:nvPr/>
          </p:nvSpPr>
          <p:spPr>
            <a:xfrm>
              <a:off x="1535912" y="5635954"/>
              <a:ext cx="235760" cy="235791"/>
            </a:xfrm>
            <a:custGeom>
              <a:avLst/>
              <a:gdLst>
                <a:gd name="connsiteX0" fmla="*/ 235761 w 235760"/>
                <a:gd name="connsiteY0" fmla="*/ 46899 h 235791"/>
                <a:gd name="connsiteX1" fmla="*/ 233319 w 235760"/>
                <a:gd name="connsiteY1" fmla="*/ 49069 h 235791"/>
                <a:gd name="connsiteX2" fmla="*/ 49099 w 235760"/>
                <a:gd name="connsiteY2" fmla="*/ 233380 h 235791"/>
                <a:gd name="connsiteX3" fmla="*/ 43101 w 235760"/>
                <a:gd name="connsiteY3" fmla="*/ 235791 h 235791"/>
                <a:gd name="connsiteX4" fmla="*/ 0 w 235760"/>
                <a:gd name="connsiteY4" fmla="*/ 235731 h 235791"/>
                <a:gd name="connsiteX5" fmla="*/ 1869 w 235760"/>
                <a:gd name="connsiteY5" fmla="*/ 233591 h 235791"/>
                <a:gd name="connsiteX6" fmla="*/ 233952 w 235760"/>
                <a:gd name="connsiteY6" fmla="*/ 1507 h 235791"/>
                <a:gd name="connsiteX7" fmla="*/ 235761 w 235760"/>
                <a:gd name="connsiteY7" fmla="*/ 0 h 235791"/>
                <a:gd name="connsiteX8" fmla="*/ 235761 w 235760"/>
                <a:gd name="connsiteY8" fmla="*/ 46899 h 23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760" h="235791">
                  <a:moveTo>
                    <a:pt x="235761" y="46899"/>
                  </a:moveTo>
                  <a:cubicBezTo>
                    <a:pt x="234947" y="47622"/>
                    <a:pt x="234103" y="48285"/>
                    <a:pt x="233319" y="49069"/>
                  </a:cubicBezTo>
                  <a:cubicBezTo>
                    <a:pt x="171893" y="110496"/>
                    <a:pt x="110466" y="171893"/>
                    <a:pt x="49099" y="233380"/>
                  </a:cubicBezTo>
                  <a:cubicBezTo>
                    <a:pt x="47291" y="235188"/>
                    <a:pt x="45543" y="235821"/>
                    <a:pt x="43101" y="235791"/>
                  </a:cubicBezTo>
                  <a:cubicBezTo>
                    <a:pt x="28875" y="235700"/>
                    <a:pt x="14679" y="235731"/>
                    <a:pt x="0" y="235731"/>
                  </a:cubicBezTo>
                  <a:cubicBezTo>
                    <a:pt x="784" y="234826"/>
                    <a:pt x="1296" y="234163"/>
                    <a:pt x="1869" y="233591"/>
                  </a:cubicBezTo>
                  <a:cubicBezTo>
                    <a:pt x="79240" y="156219"/>
                    <a:pt x="156581" y="78878"/>
                    <a:pt x="233952" y="1507"/>
                  </a:cubicBezTo>
                  <a:cubicBezTo>
                    <a:pt x="234495" y="964"/>
                    <a:pt x="235158" y="482"/>
                    <a:pt x="235761" y="0"/>
                  </a:cubicBezTo>
                  <a:lnTo>
                    <a:pt x="23576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0FD4142-742A-4537-97EF-107DA052B1EB}"/>
                </a:ext>
              </a:extLst>
            </p:cNvPr>
            <p:cNvSpPr/>
            <p:nvPr/>
          </p:nvSpPr>
          <p:spPr>
            <a:xfrm>
              <a:off x="1447630" y="5547551"/>
              <a:ext cx="183315" cy="182291"/>
            </a:xfrm>
            <a:custGeom>
              <a:avLst/>
              <a:gdLst>
                <a:gd name="connsiteX0" fmla="*/ 183316 w 183315"/>
                <a:gd name="connsiteY0" fmla="*/ 0 h 182291"/>
                <a:gd name="connsiteX1" fmla="*/ 181809 w 183315"/>
                <a:gd name="connsiteY1" fmla="*/ 1808 h 182291"/>
                <a:gd name="connsiteX2" fmla="*/ 2713 w 183315"/>
                <a:gd name="connsiteY2" fmla="*/ 180905 h 182291"/>
                <a:gd name="connsiteX3" fmla="*/ 1145 w 183315"/>
                <a:gd name="connsiteY3" fmla="*/ 182291 h 182291"/>
                <a:gd name="connsiteX4" fmla="*/ 0 w 183315"/>
                <a:gd name="connsiteY4" fmla="*/ 181628 h 182291"/>
                <a:gd name="connsiteX5" fmla="*/ 0 w 183315"/>
                <a:gd name="connsiteY5" fmla="*/ 137713 h 182291"/>
                <a:gd name="connsiteX6" fmla="*/ 452 w 183315"/>
                <a:gd name="connsiteY6" fmla="*/ 136477 h 182291"/>
                <a:gd name="connsiteX7" fmla="*/ 1115 w 183315"/>
                <a:gd name="connsiteY7" fmla="*/ 135392 h 182291"/>
                <a:gd name="connsiteX8" fmla="*/ 2683 w 183315"/>
                <a:gd name="connsiteY8" fmla="*/ 134036 h 182291"/>
                <a:gd name="connsiteX9" fmla="*/ 134880 w 183315"/>
                <a:gd name="connsiteY9" fmla="*/ 1808 h 182291"/>
                <a:gd name="connsiteX10" fmla="*/ 136387 w 183315"/>
                <a:gd name="connsiteY10" fmla="*/ 0 h 182291"/>
                <a:gd name="connsiteX11" fmla="*/ 183286 w 183315"/>
                <a:gd name="connsiteY11" fmla="*/ 0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315" h="182291">
                  <a:moveTo>
                    <a:pt x="183316" y="0"/>
                  </a:moveTo>
                  <a:cubicBezTo>
                    <a:pt x="182804" y="603"/>
                    <a:pt x="182351" y="1266"/>
                    <a:pt x="181809" y="1808"/>
                  </a:cubicBezTo>
                  <a:cubicBezTo>
                    <a:pt x="122130" y="61517"/>
                    <a:pt x="62421" y="121226"/>
                    <a:pt x="2713" y="180905"/>
                  </a:cubicBezTo>
                  <a:cubicBezTo>
                    <a:pt x="2230" y="181387"/>
                    <a:pt x="1658" y="181809"/>
                    <a:pt x="1145" y="182291"/>
                  </a:cubicBezTo>
                  <a:cubicBezTo>
                    <a:pt x="754" y="182080"/>
                    <a:pt x="392" y="181839"/>
                    <a:pt x="0" y="181628"/>
                  </a:cubicBezTo>
                  <a:cubicBezTo>
                    <a:pt x="0" y="166980"/>
                    <a:pt x="0" y="152361"/>
                    <a:pt x="0" y="137713"/>
                  </a:cubicBezTo>
                  <a:cubicBezTo>
                    <a:pt x="151" y="137291"/>
                    <a:pt x="301" y="136899"/>
                    <a:pt x="452" y="136477"/>
                  </a:cubicBezTo>
                  <a:cubicBezTo>
                    <a:pt x="663" y="136116"/>
                    <a:pt x="874" y="135754"/>
                    <a:pt x="1115" y="135392"/>
                  </a:cubicBezTo>
                  <a:cubicBezTo>
                    <a:pt x="1628" y="134940"/>
                    <a:pt x="2200" y="134518"/>
                    <a:pt x="2683" y="134036"/>
                  </a:cubicBezTo>
                  <a:cubicBezTo>
                    <a:pt x="46748" y="89970"/>
                    <a:pt x="90814" y="45904"/>
                    <a:pt x="134880" y="1808"/>
                  </a:cubicBezTo>
                  <a:cubicBezTo>
                    <a:pt x="135422" y="1266"/>
                    <a:pt x="135905" y="603"/>
                    <a:pt x="136387" y="0"/>
                  </a:cubicBezTo>
                  <a:cubicBezTo>
                    <a:pt x="152030" y="0"/>
                    <a:pt x="167673" y="0"/>
                    <a:pt x="18328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05CD2EB-5BE4-4DB2-BB46-BE58CD154383}"/>
                </a:ext>
              </a:extLst>
            </p:cNvPr>
            <p:cNvSpPr/>
            <p:nvPr/>
          </p:nvSpPr>
          <p:spPr>
            <a:xfrm>
              <a:off x="1627931" y="5727974"/>
              <a:ext cx="143741" cy="143742"/>
            </a:xfrm>
            <a:custGeom>
              <a:avLst/>
              <a:gdLst>
                <a:gd name="connsiteX0" fmla="*/ 143741 w 143741"/>
                <a:gd name="connsiteY0" fmla="*/ 46899 h 143742"/>
                <a:gd name="connsiteX1" fmla="*/ 141300 w 143741"/>
                <a:gd name="connsiteY1" fmla="*/ 49069 h 143742"/>
                <a:gd name="connsiteX2" fmla="*/ 48888 w 143741"/>
                <a:gd name="connsiteY2" fmla="*/ 141541 h 143742"/>
                <a:gd name="connsiteX3" fmla="*/ 43403 w 143741"/>
                <a:gd name="connsiteY3" fmla="*/ 143741 h 143742"/>
                <a:gd name="connsiteX4" fmla="*/ 0 w 143741"/>
                <a:gd name="connsiteY4" fmla="*/ 143711 h 143742"/>
                <a:gd name="connsiteX5" fmla="*/ 1447 w 143741"/>
                <a:gd name="connsiteY5" fmla="*/ 141993 h 143742"/>
                <a:gd name="connsiteX6" fmla="*/ 142355 w 143741"/>
                <a:gd name="connsiteY6" fmla="*/ 1085 h 143742"/>
                <a:gd name="connsiteX7" fmla="*/ 143741 w 143741"/>
                <a:gd name="connsiteY7" fmla="*/ 0 h 143742"/>
                <a:gd name="connsiteX8" fmla="*/ 143741 w 143741"/>
                <a:gd name="connsiteY8" fmla="*/ 46899 h 14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741" h="143742">
                  <a:moveTo>
                    <a:pt x="143741" y="46899"/>
                  </a:moveTo>
                  <a:cubicBezTo>
                    <a:pt x="142927" y="47622"/>
                    <a:pt x="142083" y="48285"/>
                    <a:pt x="141300" y="49069"/>
                  </a:cubicBezTo>
                  <a:cubicBezTo>
                    <a:pt x="110466" y="79873"/>
                    <a:pt x="79632" y="110677"/>
                    <a:pt x="48888" y="141541"/>
                  </a:cubicBezTo>
                  <a:cubicBezTo>
                    <a:pt x="47261" y="143168"/>
                    <a:pt x="45663" y="143771"/>
                    <a:pt x="43403" y="143741"/>
                  </a:cubicBezTo>
                  <a:cubicBezTo>
                    <a:pt x="29086" y="143651"/>
                    <a:pt x="14769" y="143711"/>
                    <a:pt x="0" y="143711"/>
                  </a:cubicBezTo>
                  <a:cubicBezTo>
                    <a:pt x="633" y="142957"/>
                    <a:pt x="995" y="142415"/>
                    <a:pt x="1447" y="141993"/>
                  </a:cubicBezTo>
                  <a:cubicBezTo>
                    <a:pt x="48406" y="95004"/>
                    <a:pt x="95395" y="48044"/>
                    <a:pt x="142355" y="1085"/>
                  </a:cubicBezTo>
                  <a:cubicBezTo>
                    <a:pt x="142777" y="663"/>
                    <a:pt x="143289" y="362"/>
                    <a:pt x="143741" y="0"/>
                  </a:cubicBezTo>
                  <a:lnTo>
                    <a:pt x="14374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69E62EC-BD73-493F-B705-1D3F112F3E3A}"/>
                </a:ext>
              </a:extLst>
            </p:cNvPr>
            <p:cNvSpPr/>
            <p:nvPr/>
          </p:nvSpPr>
          <p:spPr>
            <a:xfrm>
              <a:off x="1447690" y="5547551"/>
              <a:ext cx="91296" cy="90271"/>
            </a:xfrm>
            <a:custGeom>
              <a:avLst/>
              <a:gdLst>
                <a:gd name="connsiteX0" fmla="*/ 91266 w 91296"/>
                <a:gd name="connsiteY0" fmla="*/ 0 h 90271"/>
                <a:gd name="connsiteX1" fmla="*/ 89970 w 91296"/>
                <a:gd name="connsiteY1" fmla="*/ 1597 h 90271"/>
                <a:gd name="connsiteX2" fmla="*/ 2261 w 91296"/>
                <a:gd name="connsiteY2" fmla="*/ 89307 h 90271"/>
                <a:gd name="connsiteX3" fmla="*/ 1145 w 91296"/>
                <a:gd name="connsiteY3" fmla="*/ 90271 h 90271"/>
                <a:gd name="connsiteX4" fmla="*/ 0 w 91296"/>
                <a:gd name="connsiteY4" fmla="*/ 89608 h 90271"/>
                <a:gd name="connsiteX5" fmla="*/ 0 w 91296"/>
                <a:gd name="connsiteY5" fmla="*/ 45091 h 90271"/>
                <a:gd name="connsiteX6" fmla="*/ 965 w 91296"/>
                <a:gd name="connsiteY6" fmla="*/ 43885 h 90271"/>
                <a:gd name="connsiteX7" fmla="*/ 40117 w 91296"/>
                <a:gd name="connsiteY7" fmla="*/ 4551 h 90271"/>
                <a:gd name="connsiteX8" fmla="*/ 44397 w 91296"/>
                <a:gd name="connsiteY8" fmla="*/ 0 h 90271"/>
                <a:gd name="connsiteX9" fmla="*/ 91296 w 91296"/>
                <a:gd name="connsiteY9" fmla="*/ 0 h 9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90271">
                  <a:moveTo>
                    <a:pt x="91266" y="0"/>
                  </a:moveTo>
                  <a:cubicBezTo>
                    <a:pt x="90844" y="543"/>
                    <a:pt x="90452" y="1115"/>
                    <a:pt x="89970" y="1597"/>
                  </a:cubicBezTo>
                  <a:cubicBezTo>
                    <a:pt x="60734" y="30834"/>
                    <a:pt x="31497" y="60070"/>
                    <a:pt x="2261" y="89307"/>
                  </a:cubicBezTo>
                  <a:cubicBezTo>
                    <a:pt x="1899" y="89669"/>
                    <a:pt x="1507" y="89940"/>
                    <a:pt x="1145" y="90271"/>
                  </a:cubicBezTo>
                  <a:cubicBezTo>
                    <a:pt x="754" y="90060"/>
                    <a:pt x="392" y="89819"/>
                    <a:pt x="0" y="89608"/>
                  </a:cubicBezTo>
                  <a:cubicBezTo>
                    <a:pt x="0" y="74779"/>
                    <a:pt x="0" y="59920"/>
                    <a:pt x="0" y="45091"/>
                  </a:cubicBezTo>
                  <a:cubicBezTo>
                    <a:pt x="332" y="44699"/>
                    <a:pt x="633" y="44277"/>
                    <a:pt x="965" y="43885"/>
                  </a:cubicBezTo>
                  <a:cubicBezTo>
                    <a:pt x="14015" y="30774"/>
                    <a:pt x="27066" y="17662"/>
                    <a:pt x="40117" y="4551"/>
                  </a:cubicBezTo>
                  <a:cubicBezTo>
                    <a:pt x="41594" y="3074"/>
                    <a:pt x="42981" y="1507"/>
                    <a:pt x="44397" y="0"/>
                  </a:cubicBezTo>
                  <a:cubicBezTo>
                    <a:pt x="60040" y="0"/>
                    <a:pt x="75683" y="0"/>
                    <a:pt x="9129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B0658E6-594D-4FE0-995A-4F87F037BF91}"/>
                </a:ext>
              </a:extLst>
            </p:cNvPr>
            <p:cNvSpPr/>
            <p:nvPr/>
          </p:nvSpPr>
          <p:spPr>
            <a:xfrm>
              <a:off x="1719831" y="5819963"/>
              <a:ext cx="51842" cy="51721"/>
            </a:xfrm>
            <a:custGeom>
              <a:avLst/>
              <a:gdLst>
                <a:gd name="connsiteX0" fmla="*/ 51842 w 51842"/>
                <a:gd name="connsiteY0" fmla="*/ 51721 h 51721"/>
                <a:gd name="connsiteX1" fmla="*/ 0 w 51842"/>
                <a:gd name="connsiteY1" fmla="*/ 51721 h 51721"/>
                <a:gd name="connsiteX2" fmla="*/ 1386 w 51842"/>
                <a:gd name="connsiteY2" fmla="*/ 50154 h 51721"/>
                <a:gd name="connsiteX3" fmla="*/ 50456 w 51842"/>
                <a:gd name="connsiteY3" fmla="*/ 1085 h 51721"/>
                <a:gd name="connsiteX4" fmla="*/ 51842 w 51842"/>
                <a:gd name="connsiteY4" fmla="*/ 0 h 51721"/>
                <a:gd name="connsiteX5" fmla="*/ 51842 w 51842"/>
                <a:gd name="connsiteY5" fmla="*/ 51721 h 5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42" h="51721">
                  <a:moveTo>
                    <a:pt x="51842" y="51721"/>
                  </a:moveTo>
                  <a:lnTo>
                    <a:pt x="0" y="51721"/>
                  </a:lnTo>
                  <a:cubicBezTo>
                    <a:pt x="663" y="50968"/>
                    <a:pt x="995" y="50546"/>
                    <a:pt x="1386" y="50154"/>
                  </a:cubicBezTo>
                  <a:cubicBezTo>
                    <a:pt x="17753" y="33788"/>
                    <a:pt x="34089" y="17421"/>
                    <a:pt x="50456" y="1085"/>
                  </a:cubicBezTo>
                  <a:cubicBezTo>
                    <a:pt x="50878" y="663"/>
                    <a:pt x="51360" y="362"/>
                    <a:pt x="51842" y="0"/>
                  </a:cubicBezTo>
                  <a:lnTo>
                    <a:pt x="51842" y="5172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BDAED54-DBD2-4322-858E-DE9D7D03A146}"/>
              </a:ext>
            </a:extLst>
          </p:cNvPr>
          <p:cNvSpPr/>
          <p:nvPr userDrawn="1"/>
        </p:nvSpPr>
        <p:spPr>
          <a:xfrm>
            <a:off x="10511218" y="1983900"/>
            <a:ext cx="323560" cy="324796"/>
          </a:xfrm>
          <a:custGeom>
            <a:avLst/>
            <a:gdLst>
              <a:gd name="connsiteX0" fmla="*/ 323561 w 323560"/>
              <a:gd name="connsiteY0" fmla="*/ 320848 h 324796"/>
              <a:gd name="connsiteX1" fmla="*/ 323531 w 323560"/>
              <a:gd name="connsiteY1" fmla="*/ 320336 h 324796"/>
              <a:gd name="connsiteX2" fmla="*/ 323531 w 323560"/>
              <a:gd name="connsiteY2" fmla="*/ 0 h 324796"/>
              <a:gd name="connsiteX3" fmla="*/ 0 w 323560"/>
              <a:gd name="connsiteY3" fmla="*/ 0 h 324796"/>
              <a:gd name="connsiteX4" fmla="*/ 0 w 323560"/>
              <a:gd name="connsiteY4" fmla="*/ 3104 h 324796"/>
              <a:gd name="connsiteX5" fmla="*/ 181 w 323560"/>
              <a:gd name="connsiteY5" fmla="*/ 4370 h 324796"/>
              <a:gd name="connsiteX6" fmla="*/ 3979 w 323560"/>
              <a:gd name="connsiteY6" fmla="*/ 50817 h 324796"/>
              <a:gd name="connsiteX7" fmla="*/ 12900 w 323560"/>
              <a:gd name="connsiteY7" fmla="*/ 91537 h 324796"/>
              <a:gd name="connsiteX8" fmla="*/ 30141 w 323560"/>
              <a:gd name="connsiteY8" fmla="*/ 138225 h 324796"/>
              <a:gd name="connsiteX9" fmla="*/ 43945 w 323560"/>
              <a:gd name="connsiteY9" fmla="*/ 164538 h 324796"/>
              <a:gd name="connsiteX10" fmla="*/ 86444 w 323560"/>
              <a:gd name="connsiteY10" fmla="*/ 222197 h 324796"/>
              <a:gd name="connsiteX11" fmla="*/ 130509 w 323560"/>
              <a:gd name="connsiteY11" fmla="*/ 261923 h 324796"/>
              <a:gd name="connsiteX12" fmla="*/ 166196 w 323560"/>
              <a:gd name="connsiteY12" fmla="*/ 285372 h 324796"/>
              <a:gd name="connsiteX13" fmla="*/ 219515 w 323560"/>
              <a:gd name="connsiteY13" fmla="*/ 309726 h 324796"/>
              <a:gd name="connsiteX14" fmla="*/ 284890 w 323560"/>
              <a:gd name="connsiteY14" fmla="*/ 324766 h 324796"/>
              <a:gd name="connsiteX15" fmla="*/ 285252 w 323560"/>
              <a:gd name="connsiteY15" fmla="*/ 324796 h 324796"/>
              <a:gd name="connsiteX16" fmla="*/ 323531 w 323560"/>
              <a:gd name="connsiteY16" fmla="*/ 324796 h 324796"/>
              <a:gd name="connsiteX17" fmla="*/ 323531 w 323560"/>
              <a:gd name="connsiteY17" fmla="*/ 320818 h 3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3560" h="324796">
                <a:moveTo>
                  <a:pt x="323561" y="320848"/>
                </a:moveTo>
                <a:cubicBezTo>
                  <a:pt x="323561" y="320667"/>
                  <a:pt x="323531" y="320516"/>
                  <a:pt x="323531" y="320336"/>
                </a:cubicBezTo>
                <a:cubicBezTo>
                  <a:pt x="323531" y="307466"/>
                  <a:pt x="323531" y="14076"/>
                  <a:pt x="323531" y="0"/>
                </a:cubicBezTo>
                <a:lnTo>
                  <a:pt x="0" y="0"/>
                </a:lnTo>
                <a:lnTo>
                  <a:pt x="0" y="3104"/>
                </a:lnTo>
                <a:cubicBezTo>
                  <a:pt x="90" y="3466"/>
                  <a:pt x="151" y="3888"/>
                  <a:pt x="181" y="4370"/>
                </a:cubicBezTo>
                <a:cubicBezTo>
                  <a:pt x="1296" y="19863"/>
                  <a:pt x="1778" y="35476"/>
                  <a:pt x="3979" y="50817"/>
                </a:cubicBezTo>
                <a:cubicBezTo>
                  <a:pt x="5938" y="64531"/>
                  <a:pt x="9524" y="78064"/>
                  <a:pt x="12900" y="91537"/>
                </a:cubicBezTo>
                <a:cubicBezTo>
                  <a:pt x="16969" y="107693"/>
                  <a:pt x="23178" y="123125"/>
                  <a:pt x="30141" y="138225"/>
                </a:cubicBezTo>
                <a:cubicBezTo>
                  <a:pt x="34270" y="147207"/>
                  <a:pt x="39093" y="155918"/>
                  <a:pt x="43945" y="164538"/>
                </a:cubicBezTo>
                <a:cubicBezTo>
                  <a:pt x="55760" y="185456"/>
                  <a:pt x="70137" y="204505"/>
                  <a:pt x="86444" y="222197"/>
                </a:cubicBezTo>
                <a:cubicBezTo>
                  <a:pt x="99917" y="236846"/>
                  <a:pt x="114263" y="250469"/>
                  <a:pt x="130509" y="261923"/>
                </a:cubicBezTo>
                <a:cubicBezTo>
                  <a:pt x="142144" y="270121"/>
                  <a:pt x="154079" y="277898"/>
                  <a:pt x="166196" y="285372"/>
                </a:cubicBezTo>
                <a:cubicBezTo>
                  <a:pt x="182924" y="295711"/>
                  <a:pt x="200978" y="303336"/>
                  <a:pt x="219515" y="309726"/>
                </a:cubicBezTo>
                <a:cubicBezTo>
                  <a:pt x="240764" y="317020"/>
                  <a:pt x="262496" y="322415"/>
                  <a:pt x="284890" y="324766"/>
                </a:cubicBezTo>
                <a:cubicBezTo>
                  <a:pt x="285011" y="324766"/>
                  <a:pt x="285131" y="324766"/>
                  <a:pt x="285252" y="324796"/>
                </a:cubicBezTo>
                <a:lnTo>
                  <a:pt x="323531" y="324796"/>
                </a:lnTo>
                <a:lnTo>
                  <a:pt x="323531" y="32081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70BFBE3-9609-4C6D-ACEF-646945B18EF3}"/>
              </a:ext>
            </a:extLst>
          </p:cNvPr>
          <p:cNvSpPr/>
          <p:nvPr userDrawn="1"/>
        </p:nvSpPr>
        <p:spPr>
          <a:xfrm rot="2700000">
            <a:off x="10561131" y="4573338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4317C9A-3857-4DD9-BAD9-BD6B0EA209D6}"/>
              </a:ext>
            </a:extLst>
          </p:cNvPr>
          <p:cNvGrpSpPr/>
          <p:nvPr userDrawn="1"/>
        </p:nvGrpSpPr>
        <p:grpSpPr>
          <a:xfrm>
            <a:off x="551942" y="657151"/>
            <a:ext cx="426764" cy="426924"/>
            <a:chOff x="551942" y="657151"/>
            <a:chExt cx="426764" cy="426924"/>
          </a:xfrm>
          <a:solidFill>
            <a:srgbClr val="FFC900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140C93C-F107-4CF6-8A14-239D6C69745A}"/>
                </a:ext>
              </a:extLst>
            </p:cNvPr>
            <p:cNvSpPr/>
            <p:nvPr/>
          </p:nvSpPr>
          <p:spPr>
            <a:xfrm>
              <a:off x="551982" y="657151"/>
              <a:ext cx="426724" cy="426923"/>
            </a:xfrm>
            <a:custGeom>
              <a:avLst/>
              <a:gdLst>
                <a:gd name="connsiteX0" fmla="*/ 426685 w 426724"/>
                <a:gd name="connsiteY0" fmla="*/ 56997 h 426923"/>
                <a:gd name="connsiteX1" fmla="*/ 423470 w 426724"/>
                <a:gd name="connsiteY1" fmla="*/ 59855 h 426923"/>
                <a:gd name="connsiteX2" fmla="*/ 59458 w 426724"/>
                <a:gd name="connsiteY2" fmla="*/ 423946 h 426923"/>
                <a:gd name="connsiteX3" fmla="*/ 52274 w 426724"/>
                <a:gd name="connsiteY3" fmla="*/ 426923 h 426923"/>
                <a:gd name="connsiteX4" fmla="*/ 4406 w 426724"/>
                <a:gd name="connsiteY4" fmla="*/ 426843 h 426923"/>
                <a:gd name="connsiteX5" fmla="*/ 0 w 426724"/>
                <a:gd name="connsiteY5" fmla="*/ 426843 h 426923"/>
                <a:gd name="connsiteX6" fmla="*/ 0 w 426724"/>
                <a:gd name="connsiteY6" fmla="*/ 422120 h 426923"/>
                <a:gd name="connsiteX7" fmla="*/ 1310 w 426724"/>
                <a:gd name="connsiteY7" fmla="*/ 420453 h 426923"/>
                <a:gd name="connsiteX8" fmla="*/ 4247 w 426724"/>
                <a:gd name="connsiteY8" fmla="*/ 417278 h 426923"/>
                <a:gd name="connsiteX9" fmla="*/ 418310 w 426724"/>
                <a:gd name="connsiteY9" fmla="*/ 3215 h 426923"/>
                <a:gd name="connsiteX10" fmla="*/ 421167 w 426724"/>
                <a:gd name="connsiteY10" fmla="*/ 0 h 426923"/>
                <a:gd name="connsiteX11" fmla="*/ 426724 w 426724"/>
                <a:gd name="connsiteY11" fmla="*/ 0 h 426923"/>
                <a:gd name="connsiteX12" fmla="*/ 426724 w 426724"/>
                <a:gd name="connsiteY12" fmla="*/ 57037 h 4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724" h="426923">
                  <a:moveTo>
                    <a:pt x="426685" y="56997"/>
                  </a:moveTo>
                  <a:cubicBezTo>
                    <a:pt x="425613" y="57950"/>
                    <a:pt x="424501" y="58823"/>
                    <a:pt x="423470" y="59855"/>
                  </a:cubicBezTo>
                  <a:cubicBezTo>
                    <a:pt x="302093" y="181192"/>
                    <a:pt x="180755" y="302529"/>
                    <a:pt x="59458" y="423946"/>
                  </a:cubicBezTo>
                  <a:cubicBezTo>
                    <a:pt x="57315" y="426089"/>
                    <a:pt x="55251" y="426962"/>
                    <a:pt x="52274" y="426923"/>
                  </a:cubicBezTo>
                  <a:cubicBezTo>
                    <a:pt x="36318" y="426804"/>
                    <a:pt x="20362" y="426843"/>
                    <a:pt x="4406" y="426843"/>
                  </a:cubicBezTo>
                  <a:lnTo>
                    <a:pt x="0" y="426843"/>
                  </a:lnTo>
                  <a:cubicBezTo>
                    <a:pt x="0" y="424978"/>
                    <a:pt x="0" y="423549"/>
                    <a:pt x="0" y="422120"/>
                  </a:cubicBezTo>
                  <a:cubicBezTo>
                    <a:pt x="437" y="421564"/>
                    <a:pt x="873" y="421009"/>
                    <a:pt x="1310" y="420453"/>
                  </a:cubicBezTo>
                  <a:cubicBezTo>
                    <a:pt x="2302" y="419381"/>
                    <a:pt x="3215" y="418310"/>
                    <a:pt x="4247" y="417278"/>
                  </a:cubicBezTo>
                  <a:cubicBezTo>
                    <a:pt x="142255" y="279270"/>
                    <a:pt x="280302" y="141223"/>
                    <a:pt x="418310" y="3215"/>
                  </a:cubicBezTo>
                  <a:cubicBezTo>
                    <a:pt x="419302" y="2223"/>
                    <a:pt x="420215" y="1072"/>
                    <a:pt x="421167" y="0"/>
                  </a:cubicBezTo>
                  <a:cubicBezTo>
                    <a:pt x="423033" y="0"/>
                    <a:pt x="424859" y="0"/>
                    <a:pt x="426724" y="0"/>
                  </a:cubicBezTo>
                  <a:lnTo>
                    <a:pt x="426724" y="57037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84F10F-3C4A-465F-9437-427AFBC63BBF}"/>
                </a:ext>
              </a:extLst>
            </p:cNvPr>
            <p:cNvSpPr/>
            <p:nvPr/>
          </p:nvSpPr>
          <p:spPr>
            <a:xfrm>
              <a:off x="551982" y="657151"/>
              <a:ext cx="361749" cy="361153"/>
            </a:xfrm>
            <a:custGeom>
              <a:avLst/>
              <a:gdLst>
                <a:gd name="connsiteX0" fmla="*/ 361749 w 361749"/>
                <a:gd name="connsiteY0" fmla="*/ 0 h 361153"/>
                <a:gd name="connsiteX1" fmla="*/ 359209 w 361749"/>
                <a:gd name="connsiteY1" fmla="*/ 2937 h 361153"/>
                <a:gd name="connsiteX2" fmla="*/ 3890 w 361749"/>
                <a:gd name="connsiteY2" fmla="*/ 358256 h 361153"/>
                <a:gd name="connsiteX3" fmla="*/ 675 w 361749"/>
                <a:gd name="connsiteY3" fmla="*/ 361154 h 361153"/>
                <a:gd name="connsiteX4" fmla="*/ 0 w 361749"/>
                <a:gd name="connsiteY4" fmla="*/ 361114 h 361153"/>
                <a:gd name="connsiteX5" fmla="*/ 0 w 361749"/>
                <a:gd name="connsiteY5" fmla="*/ 300981 h 361153"/>
                <a:gd name="connsiteX6" fmla="*/ 1429 w 361749"/>
                <a:gd name="connsiteY6" fmla="*/ 299473 h 361153"/>
                <a:gd name="connsiteX7" fmla="*/ 3771 w 361749"/>
                <a:gd name="connsiteY7" fmla="*/ 297409 h 361153"/>
                <a:gd name="connsiteX8" fmla="*/ 298481 w 361749"/>
                <a:gd name="connsiteY8" fmla="*/ 2699 h 361153"/>
                <a:gd name="connsiteX9" fmla="*/ 300743 w 361749"/>
                <a:gd name="connsiteY9" fmla="*/ 40 h 361153"/>
                <a:gd name="connsiteX10" fmla="*/ 361709 w 361749"/>
                <a:gd name="connsiteY10" fmla="*/ 40 h 3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749" h="361153">
                  <a:moveTo>
                    <a:pt x="361749" y="0"/>
                  </a:moveTo>
                  <a:cubicBezTo>
                    <a:pt x="360916" y="992"/>
                    <a:pt x="360122" y="2024"/>
                    <a:pt x="359209" y="2937"/>
                  </a:cubicBezTo>
                  <a:cubicBezTo>
                    <a:pt x="240769" y="121377"/>
                    <a:pt x="122329" y="239817"/>
                    <a:pt x="3890" y="358256"/>
                  </a:cubicBezTo>
                  <a:cubicBezTo>
                    <a:pt x="2858" y="359288"/>
                    <a:pt x="1746" y="360201"/>
                    <a:pt x="675" y="361154"/>
                  </a:cubicBezTo>
                  <a:cubicBezTo>
                    <a:pt x="437" y="361154"/>
                    <a:pt x="238" y="361154"/>
                    <a:pt x="0" y="361114"/>
                  </a:cubicBezTo>
                  <a:cubicBezTo>
                    <a:pt x="0" y="341070"/>
                    <a:pt x="0" y="321026"/>
                    <a:pt x="0" y="300981"/>
                  </a:cubicBezTo>
                  <a:cubicBezTo>
                    <a:pt x="476" y="300465"/>
                    <a:pt x="953" y="299989"/>
                    <a:pt x="1429" y="299473"/>
                  </a:cubicBezTo>
                  <a:cubicBezTo>
                    <a:pt x="2223" y="298798"/>
                    <a:pt x="3056" y="298124"/>
                    <a:pt x="3771" y="297409"/>
                  </a:cubicBezTo>
                  <a:cubicBezTo>
                    <a:pt x="102007" y="199172"/>
                    <a:pt x="200244" y="100936"/>
                    <a:pt x="298481" y="2699"/>
                  </a:cubicBezTo>
                  <a:cubicBezTo>
                    <a:pt x="299314" y="1866"/>
                    <a:pt x="299989" y="913"/>
                    <a:pt x="300743" y="40"/>
                  </a:cubicBezTo>
                  <a:cubicBezTo>
                    <a:pt x="321065" y="40"/>
                    <a:pt x="341387" y="40"/>
                    <a:pt x="361709" y="4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114189-1AF0-4129-AF85-C359FFF8F262}"/>
                </a:ext>
              </a:extLst>
            </p:cNvPr>
            <p:cNvSpPr/>
            <p:nvPr/>
          </p:nvSpPr>
          <p:spPr>
            <a:xfrm>
              <a:off x="668198" y="773567"/>
              <a:ext cx="310467" cy="310508"/>
            </a:xfrm>
            <a:custGeom>
              <a:avLst/>
              <a:gdLst>
                <a:gd name="connsiteX0" fmla="*/ 310468 w 310467"/>
                <a:gd name="connsiteY0" fmla="*/ 61760 h 310508"/>
                <a:gd name="connsiteX1" fmla="*/ 307253 w 310467"/>
                <a:gd name="connsiteY1" fmla="*/ 64618 h 310508"/>
                <a:gd name="connsiteX2" fmla="*/ 64658 w 310467"/>
                <a:gd name="connsiteY2" fmla="*/ 307332 h 310508"/>
                <a:gd name="connsiteX3" fmla="*/ 56759 w 310467"/>
                <a:gd name="connsiteY3" fmla="*/ 310507 h 310508"/>
                <a:gd name="connsiteX4" fmla="*/ 0 w 310467"/>
                <a:gd name="connsiteY4" fmla="*/ 310428 h 310508"/>
                <a:gd name="connsiteX5" fmla="*/ 2461 w 310467"/>
                <a:gd name="connsiteY5" fmla="*/ 307610 h 310508"/>
                <a:gd name="connsiteX6" fmla="*/ 308086 w 310467"/>
                <a:gd name="connsiteY6" fmla="*/ 1985 h 310508"/>
                <a:gd name="connsiteX7" fmla="*/ 310468 w 310467"/>
                <a:gd name="connsiteY7" fmla="*/ 0 h 310508"/>
                <a:gd name="connsiteX8" fmla="*/ 310468 w 310467"/>
                <a:gd name="connsiteY8" fmla="*/ 61760 h 3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467" h="310508">
                  <a:moveTo>
                    <a:pt x="310468" y="61760"/>
                  </a:moveTo>
                  <a:cubicBezTo>
                    <a:pt x="309396" y="62713"/>
                    <a:pt x="308285" y="63586"/>
                    <a:pt x="307253" y="64618"/>
                  </a:cubicBezTo>
                  <a:cubicBezTo>
                    <a:pt x="226361" y="145509"/>
                    <a:pt x="145470" y="226361"/>
                    <a:pt x="64658" y="307332"/>
                  </a:cubicBezTo>
                  <a:cubicBezTo>
                    <a:pt x="62276" y="309713"/>
                    <a:pt x="59974" y="310547"/>
                    <a:pt x="56759" y="310507"/>
                  </a:cubicBezTo>
                  <a:cubicBezTo>
                    <a:pt x="38025" y="310388"/>
                    <a:pt x="19330" y="310428"/>
                    <a:pt x="0" y="310428"/>
                  </a:cubicBezTo>
                  <a:cubicBezTo>
                    <a:pt x="1032" y="309237"/>
                    <a:pt x="1707" y="308364"/>
                    <a:pt x="2461" y="307610"/>
                  </a:cubicBezTo>
                  <a:cubicBezTo>
                    <a:pt x="104349" y="205721"/>
                    <a:pt x="206198" y="103873"/>
                    <a:pt x="308086" y="1985"/>
                  </a:cubicBezTo>
                  <a:cubicBezTo>
                    <a:pt x="308801" y="1270"/>
                    <a:pt x="309674" y="635"/>
                    <a:pt x="310468" y="0"/>
                  </a:cubicBezTo>
                  <a:lnTo>
                    <a:pt x="310468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19D63E7-9B3A-4729-9362-9A5DF7B45E4C}"/>
                </a:ext>
              </a:extLst>
            </p:cNvPr>
            <p:cNvSpPr/>
            <p:nvPr/>
          </p:nvSpPr>
          <p:spPr>
            <a:xfrm>
              <a:off x="551942" y="657151"/>
              <a:ext cx="241404" cy="240054"/>
            </a:xfrm>
            <a:custGeom>
              <a:avLst/>
              <a:gdLst>
                <a:gd name="connsiteX0" fmla="*/ 241404 w 241404"/>
                <a:gd name="connsiteY0" fmla="*/ 0 h 240054"/>
                <a:gd name="connsiteX1" fmla="*/ 239420 w 241404"/>
                <a:gd name="connsiteY1" fmla="*/ 2382 h 240054"/>
                <a:gd name="connsiteX2" fmla="*/ 3572 w 241404"/>
                <a:gd name="connsiteY2" fmla="*/ 238229 h 240054"/>
                <a:gd name="connsiteX3" fmla="*/ 1508 w 241404"/>
                <a:gd name="connsiteY3" fmla="*/ 240055 h 240054"/>
                <a:gd name="connsiteX4" fmla="*/ 0 w 241404"/>
                <a:gd name="connsiteY4" fmla="*/ 239181 h 240054"/>
                <a:gd name="connsiteX5" fmla="*/ 0 w 241404"/>
                <a:gd name="connsiteY5" fmla="*/ 181351 h 240054"/>
                <a:gd name="connsiteX6" fmla="*/ 595 w 241404"/>
                <a:gd name="connsiteY6" fmla="*/ 179724 h 240054"/>
                <a:gd name="connsiteX7" fmla="*/ 1469 w 241404"/>
                <a:gd name="connsiteY7" fmla="*/ 178295 h 240054"/>
                <a:gd name="connsiteX8" fmla="*/ 3533 w 241404"/>
                <a:gd name="connsiteY8" fmla="*/ 176509 h 240054"/>
                <a:gd name="connsiteX9" fmla="*/ 177620 w 241404"/>
                <a:gd name="connsiteY9" fmla="*/ 2382 h 240054"/>
                <a:gd name="connsiteX10" fmla="*/ 179604 w 241404"/>
                <a:gd name="connsiteY10" fmla="*/ 0 h 240054"/>
                <a:gd name="connsiteX11" fmla="*/ 241365 w 241404"/>
                <a:gd name="connsiteY11" fmla="*/ 0 h 24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404" h="240054">
                  <a:moveTo>
                    <a:pt x="241404" y="0"/>
                  </a:moveTo>
                  <a:cubicBezTo>
                    <a:pt x="240729" y="794"/>
                    <a:pt x="240134" y="1667"/>
                    <a:pt x="239420" y="2382"/>
                  </a:cubicBezTo>
                  <a:cubicBezTo>
                    <a:pt x="160830" y="81011"/>
                    <a:pt x="82201" y="159640"/>
                    <a:pt x="3572" y="238229"/>
                  </a:cubicBezTo>
                  <a:cubicBezTo>
                    <a:pt x="2937" y="238864"/>
                    <a:pt x="2183" y="239420"/>
                    <a:pt x="1508" y="240055"/>
                  </a:cubicBezTo>
                  <a:cubicBezTo>
                    <a:pt x="992" y="239777"/>
                    <a:pt x="516" y="239459"/>
                    <a:pt x="0" y="239181"/>
                  </a:cubicBezTo>
                  <a:cubicBezTo>
                    <a:pt x="0" y="219891"/>
                    <a:pt x="0" y="200641"/>
                    <a:pt x="0" y="181351"/>
                  </a:cubicBezTo>
                  <a:cubicBezTo>
                    <a:pt x="198" y="180795"/>
                    <a:pt x="397" y="180279"/>
                    <a:pt x="595" y="179724"/>
                  </a:cubicBezTo>
                  <a:cubicBezTo>
                    <a:pt x="873" y="179247"/>
                    <a:pt x="1151" y="178771"/>
                    <a:pt x="1469" y="178295"/>
                  </a:cubicBezTo>
                  <a:cubicBezTo>
                    <a:pt x="2143" y="177699"/>
                    <a:pt x="2897" y="177144"/>
                    <a:pt x="3533" y="176509"/>
                  </a:cubicBezTo>
                  <a:cubicBezTo>
                    <a:pt x="61562" y="118479"/>
                    <a:pt x="119591" y="60450"/>
                    <a:pt x="177620" y="2382"/>
                  </a:cubicBezTo>
                  <a:cubicBezTo>
                    <a:pt x="178334" y="1667"/>
                    <a:pt x="178969" y="794"/>
                    <a:pt x="179604" y="0"/>
                  </a:cubicBezTo>
                  <a:cubicBezTo>
                    <a:pt x="200204" y="0"/>
                    <a:pt x="220804" y="0"/>
                    <a:pt x="241365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CC14371-430F-4097-8A85-58E047108816}"/>
                </a:ext>
              </a:extLst>
            </p:cNvPr>
            <p:cNvSpPr/>
            <p:nvPr/>
          </p:nvSpPr>
          <p:spPr>
            <a:xfrm>
              <a:off x="789377" y="894745"/>
              <a:ext cx="189289" cy="189290"/>
            </a:xfrm>
            <a:custGeom>
              <a:avLst/>
              <a:gdLst>
                <a:gd name="connsiteX0" fmla="*/ 189289 w 189289"/>
                <a:gd name="connsiteY0" fmla="*/ 61760 h 189290"/>
                <a:gd name="connsiteX1" fmla="*/ 186074 w 189289"/>
                <a:gd name="connsiteY1" fmla="*/ 64618 h 189290"/>
                <a:gd name="connsiteX2" fmla="*/ 64380 w 189289"/>
                <a:gd name="connsiteY2" fmla="*/ 186392 h 189290"/>
                <a:gd name="connsiteX3" fmla="*/ 57156 w 189289"/>
                <a:gd name="connsiteY3" fmla="*/ 189289 h 189290"/>
                <a:gd name="connsiteX4" fmla="*/ 0 w 189289"/>
                <a:gd name="connsiteY4" fmla="*/ 189249 h 189290"/>
                <a:gd name="connsiteX5" fmla="*/ 1905 w 189289"/>
                <a:gd name="connsiteY5" fmla="*/ 186987 h 189290"/>
                <a:gd name="connsiteX6" fmla="*/ 187463 w 189289"/>
                <a:gd name="connsiteY6" fmla="*/ 1429 h 189290"/>
                <a:gd name="connsiteX7" fmla="*/ 189289 w 189289"/>
                <a:gd name="connsiteY7" fmla="*/ 0 h 189290"/>
                <a:gd name="connsiteX8" fmla="*/ 189289 w 189289"/>
                <a:gd name="connsiteY8" fmla="*/ 61760 h 18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289" h="189290">
                  <a:moveTo>
                    <a:pt x="189289" y="61760"/>
                  </a:moveTo>
                  <a:cubicBezTo>
                    <a:pt x="188217" y="62713"/>
                    <a:pt x="187106" y="63586"/>
                    <a:pt x="186074" y="64618"/>
                  </a:cubicBezTo>
                  <a:cubicBezTo>
                    <a:pt x="145470" y="105183"/>
                    <a:pt x="104865" y="145748"/>
                    <a:pt x="64380" y="186392"/>
                  </a:cubicBezTo>
                  <a:cubicBezTo>
                    <a:pt x="62236" y="188535"/>
                    <a:pt x="60133" y="189329"/>
                    <a:pt x="57156" y="189289"/>
                  </a:cubicBezTo>
                  <a:cubicBezTo>
                    <a:pt x="38302" y="189170"/>
                    <a:pt x="19449" y="189249"/>
                    <a:pt x="0" y="189249"/>
                  </a:cubicBezTo>
                  <a:cubicBezTo>
                    <a:pt x="834" y="188257"/>
                    <a:pt x="1310" y="187543"/>
                    <a:pt x="1905" y="186987"/>
                  </a:cubicBezTo>
                  <a:cubicBezTo>
                    <a:pt x="63745" y="125108"/>
                    <a:pt x="125624" y="63268"/>
                    <a:pt x="187463" y="1429"/>
                  </a:cubicBezTo>
                  <a:cubicBezTo>
                    <a:pt x="188019" y="873"/>
                    <a:pt x="188694" y="476"/>
                    <a:pt x="189289" y="0"/>
                  </a:cubicBezTo>
                  <a:lnTo>
                    <a:pt x="189289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515C609-543D-43D0-AFC7-F37AFF9F9C87}"/>
                </a:ext>
              </a:extLst>
            </p:cNvPr>
            <p:cNvSpPr/>
            <p:nvPr/>
          </p:nvSpPr>
          <p:spPr>
            <a:xfrm>
              <a:off x="552022" y="657151"/>
              <a:ext cx="120225" cy="118876"/>
            </a:xfrm>
            <a:custGeom>
              <a:avLst/>
              <a:gdLst>
                <a:gd name="connsiteX0" fmla="*/ 120186 w 120225"/>
                <a:gd name="connsiteY0" fmla="*/ 0 h 118876"/>
                <a:gd name="connsiteX1" fmla="*/ 118479 w 120225"/>
                <a:gd name="connsiteY1" fmla="*/ 2104 h 118876"/>
                <a:gd name="connsiteX2" fmla="*/ 2977 w 120225"/>
                <a:gd name="connsiteY2" fmla="*/ 117606 h 118876"/>
                <a:gd name="connsiteX3" fmla="*/ 1508 w 120225"/>
                <a:gd name="connsiteY3" fmla="*/ 118876 h 118876"/>
                <a:gd name="connsiteX4" fmla="*/ 0 w 120225"/>
                <a:gd name="connsiteY4" fmla="*/ 118003 h 118876"/>
                <a:gd name="connsiteX5" fmla="*/ 0 w 120225"/>
                <a:gd name="connsiteY5" fmla="*/ 59379 h 118876"/>
                <a:gd name="connsiteX6" fmla="*/ 1270 w 120225"/>
                <a:gd name="connsiteY6" fmla="*/ 57791 h 118876"/>
                <a:gd name="connsiteX7" fmla="*/ 52829 w 120225"/>
                <a:gd name="connsiteY7" fmla="*/ 5993 h 118876"/>
                <a:gd name="connsiteX8" fmla="*/ 58466 w 120225"/>
                <a:gd name="connsiteY8" fmla="*/ 0 h 118876"/>
                <a:gd name="connsiteX9" fmla="*/ 120226 w 120225"/>
                <a:gd name="connsiteY9" fmla="*/ 0 h 11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25" h="118876">
                  <a:moveTo>
                    <a:pt x="120186" y="0"/>
                  </a:moveTo>
                  <a:cubicBezTo>
                    <a:pt x="119630" y="714"/>
                    <a:pt x="119114" y="1469"/>
                    <a:pt x="118479" y="2104"/>
                  </a:cubicBezTo>
                  <a:cubicBezTo>
                    <a:pt x="79979" y="40605"/>
                    <a:pt x="41478" y="79105"/>
                    <a:pt x="2977" y="117606"/>
                  </a:cubicBezTo>
                  <a:cubicBezTo>
                    <a:pt x="2501" y="118082"/>
                    <a:pt x="1985" y="118440"/>
                    <a:pt x="1508" y="118876"/>
                  </a:cubicBezTo>
                  <a:cubicBezTo>
                    <a:pt x="992" y="118598"/>
                    <a:pt x="516" y="118281"/>
                    <a:pt x="0" y="118003"/>
                  </a:cubicBezTo>
                  <a:cubicBezTo>
                    <a:pt x="0" y="98475"/>
                    <a:pt x="0" y="78907"/>
                    <a:pt x="0" y="59379"/>
                  </a:cubicBezTo>
                  <a:cubicBezTo>
                    <a:pt x="437" y="58863"/>
                    <a:pt x="834" y="58307"/>
                    <a:pt x="1270" y="57791"/>
                  </a:cubicBezTo>
                  <a:cubicBezTo>
                    <a:pt x="18457" y="40525"/>
                    <a:pt x="35643" y="23259"/>
                    <a:pt x="52829" y="5993"/>
                  </a:cubicBezTo>
                  <a:cubicBezTo>
                    <a:pt x="54774" y="4049"/>
                    <a:pt x="56600" y="1985"/>
                    <a:pt x="58466" y="0"/>
                  </a:cubicBezTo>
                  <a:cubicBezTo>
                    <a:pt x="79066" y="0"/>
                    <a:pt x="99666" y="0"/>
                    <a:pt x="12022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1A24B24-4E00-4C82-9232-3196DC2CB77A}"/>
                </a:ext>
              </a:extLst>
            </p:cNvPr>
            <p:cNvSpPr/>
            <p:nvPr/>
          </p:nvSpPr>
          <p:spPr>
            <a:xfrm>
              <a:off x="910396" y="1015884"/>
              <a:ext cx="68269" cy="68110"/>
            </a:xfrm>
            <a:custGeom>
              <a:avLst/>
              <a:gdLst>
                <a:gd name="connsiteX0" fmla="*/ 68270 w 68269"/>
                <a:gd name="connsiteY0" fmla="*/ 68111 h 68110"/>
                <a:gd name="connsiteX1" fmla="*/ 0 w 68269"/>
                <a:gd name="connsiteY1" fmla="*/ 68111 h 68110"/>
                <a:gd name="connsiteX2" fmla="*/ 1826 w 68269"/>
                <a:gd name="connsiteY2" fmla="*/ 66047 h 68110"/>
                <a:gd name="connsiteX3" fmla="*/ 66444 w 68269"/>
                <a:gd name="connsiteY3" fmla="*/ 1429 h 68110"/>
                <a:gd name="connsiteX4" fmla="*/ 68270 w 68269"/>
                <a:gd name="connsiteY4" fmla="*/ 0 h 68110"/>
                <a:gd name="connsiteX5" fmla="*/ 68270 w 68269"/>
                <a:gd name="connsiteY5" fmla="*/ 68111 h 6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9" h="68110">
                  <a:moveTo>
                    <a:pt x="68270" y="68111"/>
                  </a:moveTo>
                  <a:lnTo>
                    <a:pt x="0" y="68111"/>
                  </a:lnTo>
                  <a:cubicBezTo>
                    <a:pt x="873" y="67118"/>
                    <a:pt x="1310" y="66563"/>
                    <a:pt x="1826" y="66047"/>
                  </a:cubicBezTo>
                  <a:cubicBezTo>
                    <a:pt x="23378" y="44494"/>
                    <a:pt x="44891" y="22942"/>
                    <a:pt x="66444" y="1429"/>
                  </a:cubicBezTo>
                  <a:cubicBezTo>
                    <a:pt x="66999" y="873"/>
                    <a:pt x="67634" y="476"/>
                    <a:pt x="68270" y="0"/>
                  </a:cubicBezTo>
                  <a:lnTo>
                    <a:pt x="68270" y="6811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82C40A7-0248-4CCE-8772-4E15D39E7AD9}"/>
              </a:ext>
            </a:extLst>
          </p:cNvPr>
          <p:cNvSpPr/>
          <p:nvPr userDrawn="1"/>
        </p:nvSpPr>
        <p:spPr>
          <a:xfrm>
            <a:off x="553013" y="5771266"/>
            <a:ext cx="424620" cy="424620"/>
          </a:xfrm>
          <a:custGeom>
            <a:avLst/>
            <a:gdLst>
              <a:gd name="connsiteX0" fmla="*/ 424621 w 424620"/>
              <a:gd name="connsiteY0" fmla="*/ 0 h 424620"/>
              <a:gd name="connsiteX1" fmla="*/ 0 w 424620"/>
              <a:gd name="connsiteY1" fmla="*/ 0 h 424620"/>
              <a:gd name="connsiteX2" fmla="*/ 0 w 424620"/>
              <a:gd name="connsiteY2" fmla="*/ 424621 h 424620"/>
              <a:gd name="connsiteX3" fmla="*/ 424621 w 424620"/>
              <a:gd name="connsiteY3" fmla="*/ 424621 h 424620"/>
              <a:gd name="connsiteX4" fmla="*/ 424621 w 424620"/>
              <a:gd name="connsiteY4" fmla="*/ 0 h 424620"/>
              <a:gd name="connsiteX5" fmla="*/ 315111 w 424620"/>
              <a:gd name="connsiteY5" fmla="*/ 219614 h 424620"/>
              <a:gd name="connsiteX6" fmla="*/ 257717 w 424620"/>
              <a:gd name="connsiteY6" fmla="*/ 276333 h 424620"/>
              <a:gd name="connsiteX7" fmla="*/ 215684 w 424620"/>
              <a:gd name="connsiteY7" fmla="*/ 318446 h 424620"/>
              <a:gd name="connsiteX8" fmla="*/ 208976 w 424620"/>
              <a:gd name="connsiteY8" fmla="*/ 318604 h 424620"/>
              <a:gd name="connsiteX9" fmla="*/ 183455 w 424620"/>
              <a:gd name="connsiteY9" fmla="*/ 293003 h 424620"/>
              <a:gd name="connsiteX10" fmla="*/ 165038 w 424620"/>
              <a:gd name="connsiteY10" fmla="*/ 275182 h 424620"/>
              <a:gd name="connsiteX11" fmla="*/ 147137 w 424620"/>
              <a:gd name="connsiteY11" fmla="*/ 256844 h 424620"/>
              <a:gd name="connsiteX12" fmla="*/ 128879 w 424620"/>
              <a:gd name="connsiteY12" fmla="*/ 238864 h 424620"/>
              <a:gd name="connsiteX13" fmla="*/ 108715 w 424620"/>
              <a:gd name="connsiteY13" fmla="*/ 218224 h 424620"/>
              <a:gd name="connsiteX14" fmla="*/ 109827 w 424620"/>
              <a:gd name="connsiteY14" fmla="*/ 212509 h 424620"/>
              <a:gd name="connsiteX15" fmla="*/ 156266 w 424620"/>
              <a:gd name="connsiteY15" fmla="*/ 166347 h 424620"/>
              <a:gd name="connsiteX16" fmla="*/ 208738 w 424620"/>
              <a:gd name="connsiteY16" fmla="*/ 113796 h 424620"/>
              <a:gd name="connsiteX17" fmla="*/ 215763 w 424620"/>
              <a:gd name="connsiteY17" fmla="*/ 113677 h 424620"/>
              <a:gd name="connsiteX18" fmla="*/ 237435 w 424620"/>
              <a:gd name="connsiteY18" fmla="*/ 135388 h 424620"/>
              <a:gd name="connsiteX19" fmla="*/ 255852 w 424620"/>
              <a:gd name="connsiteY19" fmla="*/ 153210 h 424620"/>
              <a:gd name="connsiteX20" fmla="*/ 273753 w 424620"/>
              <a:gd name="connsiteY20" fmla="*/ 171547 h 424620"/>
              <a:gd name="connsiteX21" fmla="*/ 292011 w 424620"/>
              <a:gd name="connsiteY21" fmla="*/ 189527 h 424620"/>
              <a:gd name="connsiteX22" fmla="*/ 309872 w 424620"/>
              <a:gd name="connsiteY22" fmla="*/ 207309 h 424620"/>
              <a:gd name="connsiteX23" fmla="*/ 314754 w 424620"/>
              <a:gd name="connsiteY23" fmla="*/ 212112 h 424620"/>
              <a:gd name="connsiteX24" fmla="*/ 317850 w 424620"/>
              <a:gd name="connsiteY24" fmla="*/ 215644 h 424620"/>
              <a:gd name="connsiteX25" fmla="*/ 315151 w 424620"/>
              <a:gd name="connsiteY25" fmla="*/ 219693 h 424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4620" h="424620">
                <a:moveTo>
                  <a:pt x="424621" y="0"/>
                </a:moveTo>
                <a:lnTo>
                  <a:pt x="0" y="0"/>
                </a:lnTo>
                <a:lnTo>
                  <a:pt x="0" y="424621"/>
                </a:lnTo>
                <a:lnTo>
                  <a:pt x="424621" y="424621"/>
                </a:lnTo>
                <a:cubicBezTo>
                  <a:pt x="424621" y="356669"/>
                  <a:pt x="424621" y="68944"/>
                  <a:pt x="424621" y="0"/>
                </a:cubicBezTo>
                <a:close/>
                <a:moveTo>
                  <a:pt x="315111" y="219614"/>
                </a:moveTo>
                <a:cubicBezTo>
                  <a:pt x="296020" y="238546"/>
                  <a:pt x="276809" y="257400"/>
                  <a:pt x="257717" y="276333"/>
                </a:cubicBezTo>
                <a:cubicBezTo>
                  <a:pt x="243627" y="290304"/>
                  <a:pt x="229616" y="304315"/>
                  <a:pt x="215684" y="318446"/>
                </a:cubicBezTo>
                <a:cubicBezTo>
                  <a:pt x="213184" y="320986"/>
                  <a:pt x="211556" y="321264"/>
                  <a:pt x="208976" y="318604"/>
                </a:cubicBezTo>
                <a:cubicBezTo>
                  <a:pt x="200601" y="309952"/>
                  <a:pt x="192028" y="301458"/>
                  <a:pt x="183455" y="293003"/>
                </a:cubicBezTo>
                <a:cubicBezTo>
                  <a:pt x="177382" y="287010"/>
                  <a:pt x="171071" y="281215"/>
                  <a:pt x="165038" y="275182"/>
                </a:cubicBezTo>
                <a:cubicBezTo>
                  <a:pt x="159004" y="269149"/>
                  <a:pt x="153170" y="262877"/>
                  <a:pt x="147137" y="256844"/>
                </a:cubicBezTo>
                <a:cubicBezTo>
                  <a:pt x="141104" y="250771"/>
                  <a:pt x="134912" y="244937"/>
                  <a:pt x="128879" y="238864"/>
                </a:cubicBezTo>
                <a:cubicBezTo>
                  <a:pt x="122091" y="232037"/>
                  <a:pt x="115503" y="225051"/>
                  <a:pt x="108715" y="218224"/>
                </a:cubicBezTo>
                <a:cubicBezTo>
                  <a:pt x="106175" y="215644"/>
                  <a:pt x="108239" y="214096"/>
                  <a:pt x="109827" y="212509"/>
                </a:cubicBezTo>
                <a:cubicBezTo>
                  <a:pt x="125306" y="197108"/>
                  <a:pt x="140826" y="181748"/>
                  <a:pt x="156266" y="166347"/>
                </a:cubicBezTo>
                <a:cubicBezTo>
                  <a:pt x="173809" y="148883"/>
                  <a:pt x="191313" y="131379"/>
                  <a:pt x="208738" y="113796"/>
                </a:cubicBezTo>
                <a:cubicBezTo>
                  <a:pt x="211358" y="111136"/>
                  <a:pt x="213064" y="110859"/>
                  <a:pt x="215763" y="113677"/>
                </a:cubicBezTo>
                <a:cubicBezTo>
                  <a:pt x="222829" y="121059"/>
                  <a:pt x="230132" y="128204"/>
                  <a:pt x="237435" y="135388"/>
                </a:cubicBezTo>
                <a:cubicBezTo>
                  <a:pt x="243508" y="141381"/>
                  <a:pt x="249819" y="147176"/>
                  <a:pt x="255852" y="153210"/>
                </a:cubicBezTo>
                <a:cubicBezTo>
                  <a:pt x="261885" y="159243"/>
                  <a:pt x="267720" y="165514"/>
                  <a:pt x="273753" y="171547"/>
                </a:cubicBezTo>
                <a:cubicBezTo>
                  <a:pt x="279786" y="177620"/>
                  <a:pt x="285938" y="183534"/>
                  <a:pt x="292011" y="189527"/>
                </a:cubicBezTo>
                <a:cubicBezTo>
                  <a:pt x="297965" y="195441"/>
                  <a:pt x="303918" y="201355"/>
                  <a:pt x="309872" y="207309"/>
                </a:cubicBezTo>
                <a:cubicBezTo>
                  <a:pt x="311500" y="208937"/>
                  <a:pt x="313167" y="210484"/>
                  <a:pt x="314754" y="212112"/>
                </a:cubicBezTo>
                <a:cubicBezTo>
                  <a:pt x="315786" y="213184"/>
                  <a:pt x="316699" y="214335"/>
                  <a:pt x="317850" y="215644"/>
                </a:cubicBezTo>
                <a:cubicBezTo>
                  <a:pt x="316818" y="217232"/>
                  <a:pt x="316183" y="218661"/>
                  <a:pt x="315151" y="219693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FE6E469-6601-4108-BC03-D99179005953}"/>
              </a:ext>
            </a:extLst>
          </p:cNvPr>
          <p:cNvSpPr/>
          <p:nvPr userDrawn="1"/>
        </p:nvSpPr>
        <p:spPr>
          <a:xfrm rot="2700000">
            <a:off x="653456" y="3314929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1ACCDBE6-BA22-4263-8080-D1B66E640A34}"/>
              </a:ext>
            </a:extLst>
          </p:cNvPr>
          <p:cNvSpPr/>
          <p:nvPr userDrawn="1"/>
        </p:nvSpPr>
        <p:spPr>
          <a:xfrm rot="2700000">
            <a:off x="11277666" y="718171"/>
            <a:ext cx="294630" cy="294630"/>
          </a:xfrm>
          <a:custGeom>
            <a:avLst/>
            <a:gdLst>
              <a:gd name="connsiteX0" fmla="*/ 0 w 294630"/>
              <a:gd name="connsiteY0" fmla="*/ 0 h 294630"/>
              <a:gd name="connsiteX1" fmla="*/ 294631 w 294630"/>
              <a:gd name="connsiteY1" fmla="*/ 0 h 294630"/>
              <a:gd name="connsiteX2" fmla="*/ 294631 w 294630"/>
              <a:gd name="connsiteY2" fmla="*/ 294631 h 294630"/>
              <a:gd name="connsiteX3" fmla="*/ 0 w 294630"/>
              <a:gd name="connsiteY3" fmla="*/ 294631 h 29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30" h="294630">
                <a:moveTo>
                  <a:pt x="0" y="0"/>
                </a:moveTo>
                <a:lnTo>
                  <a:pt x="294631" y="0"/>
                </a:lnTo>
                <a:lnTo>
                  <a:pt x="294631" y="294631"/>
                </a:lnTo>
                <a:lnTo>
                  <a:pt x="0" y="294631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38D3B776-1E51-45B6-B696-4C9A7889AFC1}"/>
              </a:ext>
            </a:extLst>
          </p:cNvPr>
          <p:cNvSpPr/>
          <p:nvPr userDrawn="1"/>
        </p:nvSpPr>
        <p:spPr>
          <a:xfrm>
            <a:off x="11211937" y="5768170"/>
            <a:ext cx="426089" cy="427716"/>
          </a:xfrm>
          <a:custGeom>
            <a:avLst/>
            <a:gdLst>
              <a:gd name="connsiteX0" fmla="*/ 426089 w 426089"/>
              <a:gd name="connsiteY0" fmla="*/ 422517 h 427716"/>
              <a:gd name="connsiteX1" fmla="*/ 426049 w 426089"/>
              <a:gd name="connsiteY1" fmla="*/ 421842 h 427716"/>
              <a:gd name="connsiteX2" fmla="*/ 426049 w 426089"/>
              <a:gd name="connsiteY2" fmla="*/ 0 h 427716"/>
              <a:gd name="connsiteX3" fmla="*/ 0 w 426089"/>
              <a:gd name="connsiteY3" fmla="*/ 0 h 427716"/>
              <a:gd name="connsiteX4" fmla="*/ 0 w 426089"/>
              <a:gd name="connsiteY4" fmla="*/ 4088 h 427716"/>
              <a:gd name="connsiteX5" fmla="*/ 238 w 426089"/>
              <a:gd name="connsiteY5" fmla="*/ 5755 h 427716"/>
              <a:gd name="connsiteX6" fmla="*/ 5239 w 426089"/>
              <a:gd name="connsiteY6" fmla="*/ 66920 h 427716"/>
              <a:gd name="connsiteX7" fmla="*/ 16988 w 426089"/>
              <a:gd name="connsiteY7" fmla="*/ 120543 h 427716"/>
              <a:gd name="connsiteX8" fmla="*/ 39692 w 426089"/>
              <a:gd name="connsiteY8" fmla="*/ 182026 h 427716"/>
              <a:gd name="connsiteX9" fmla="*/ 57870 w 426089"/>
              <a:gd name="connsiteY9" fmla="*/ 216676 h 427716"/>
              <a:gd name="connsiteX10" fmla="*/ 113835 w 426089"/>
              <a:gd name="connsiteY10" fmla="*/ 292606 h 427716"/>
              <a:gd name="connsiteX11" fmla="*/ 171865 w 426089"/>
              <a:gd name="connsiteY11" fmla="*/ 344920 h 427716"/>
              <a:gd name="connsiteX12" fmla="*/ 218859 w 426089"/>
              <a:gd name="connsiteY12" fmla="*/ 375800 h 427716"/>
              <a:gd name="connsiteX13" fmla="*/ 289074 w 426089"/>
              <a:gd name="connsiteY13" fmla="*/ 407871 h 427716"/>
              <a:gd name="connsiteX14" fmla="*/ 375165 w 426089"/>
              <a:gd name="connsiteY14" fmla="*/ 427677 h 427716"/>
              <a:gd name="connsiteX15" fmla="*/ 375641 w 426089"/>
              <a:gd name="connsiteY15" fmla="*/ 427717 h 427716"/>
              <a:gd name="connsiteX16" fmla="*/ 426049 w 426089"/>
              <a:gd name="connsiteY16" fmla="*/ 427717 h 427716"/>
              <a:gd name="connsiteX17" fmla="*/ 426049 w 426089"/>
              <a:gd name="connsiteY17" fmla="*/ 422477 h 42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26089" h="427716">
                <a:moveTo>
                  <a:pt x="426089" y="422517"/>
                </a:moveTo>
                <a:cubicBezTo>
                  <a:pt x="426089" y="422279"/>
                  <a:pt x="426049" y="422080"/>
                  <a:pt x="426049" y="421842"/>
                </a:cubicBezTo>
                <a:cubicBezTo>
                  <a:pt x="426049" y="404894"/>
                  <a:pt x="426049" y="18536"/>
                  <a:pt x="426049" y="0"/>
                </a:cubicBezTo>
                <a:lnTo>
                  <a:pt x="0" y="0"/>
                </a:lnTo>
                <a:lnTo>
                  <a:pt x="0" y="4088"/>
                </a:lnTo>
                <a:cubicBezTo>
                  <a:pt x="119" y="4565"/>
                  <a:pt x="198" y="5120"/>
                  <a:pt x="238" y="5755"/>
                </a:cubicBezTo>
                <a:cubicBezTo>
                  <a:pt x="1707" y="26157"/>
                  <a:pt x="2342" y="46717"/>
                  <a:pt x="5239" y="66920"/>
                </a:cubicBezTo>
                <a:cubicBezTo>
                  <a:pt x="7819" y="84980"/>
                  <a:pt x="12543" y="102801"/>
                  <a:pt x="16988" y="120543"/>
                </a:cubicBezTo>
                <a:cubicBezTo>
                  <a:pt x="22346" y="141818"/>
                  <a:pt x="30523" y="162140"/>
                  <a:pt x="39692" y="182026"/>
                </a:cubicBezTo>
                <a:cubicBezTo>
                  <a:pt x="45129" y="193854"/>
                  <a:pt x="51480" y="205325"/>
                  <a:pt x="57870" y="216676"/>
                </a:cubicBezTo>
                <a:cubicBezTo>
                  <a:pt x="73429" y="244222"/>
                  <a:pt x="92362" y="269307"/>
                  <a:pt x="113835" y="292606"/>
                </a:cubicBezTo>
                <a:cubicBezTo>
                  <a:pt x="131578" y="311896"/>
                  <a:pt x="150471" y="329837"/>
                  <a:pt x="171865" y="344920"/>
                </a:cubicBezTo>
                <a:cubicBezTo>
                  <a:pt x="187186" y="355716"/>
                  <a:pt x="202903" y="365956"/>
                  <a:pt x="218859" y="375800"/>
                </a:cubicBezTo>
                <a:cubicBezTo>
                  <a:pt x="240888" y="389414"/>
                  <a:pt x="264663" y="399456"/>
                  <a:pt x="289074" y="407871"/>
                </a:cubicBezTo>
                <a:cubicBezTo>
                  <a:pt x="317056" y="417476"/>
                  <a:pt x="345674" y="424581"/>
                  <a:pt x="375165" y="427677"/>
                </a:cubicBezTo>
                <a:cubicBezTo>
                  <a:pt x="375324" y="427677"/>
                  <a:pt x="375482" y="427677"/>
                  <a:pt x="375641" y="427717"/>
                </a:cubicBezTo>
                <a:lnTo>
                  <a:pt x="426049" y="427717"/>
                </a:lnTo>
                <a:lnTo>
                  <a:pt x="426049" y="422477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7F06E0B0-6CD8-4396-A7D2-78985F7BEA84}"/>
              </a:ext>
            </a:extLst>
          </p:cNvPr>
          <p:cNvSpPr/>
          <p:nvPr userDrawn="1"/>
        </p:nvSpPr>
        <p:spPr>
          <a:xfrm>
            <a:off x="11263759" y="3279795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80D6CF7-3139-4121-91F7-7F15D2204728}"/>
              </a:ext>
            </a:extLst>
          </p:cNvPr>
          <p:cNvSpPr/>
          <p:nvPr userDrawn="1"/>
        </p:nvSpPr>
        <p:spPr>
          <a:xfrm>
            <a:off x="9313129" y="139345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3580A4B-8CC7-40D1-91F9-82DFA324DC55}"/>
              </a:ext>
            </a:extLst>
          </p:cNvPr>
          <p:cNvSpPr/>
          <p:nvPr userDrawn="1"/>
        </p:nvSpPr>
        <p:spPr>
          <a:xfrm>
            <a:off x="2667716" y="1455514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240BE1EA-FCB7-4532-B12F-B7A6DA3C38D2}"/>
              </a:ext>
            </a:extLst>
          </p:cNvPr>
          <p:cNvSpPr/>
          <p:nvPr userDrawn="1"/>
        </p:nvSpPr>
        <p:spPr>
          <a:xfrm rot="2700000">
            <a:off x="2697865" y="5221378"/>
            <a:ext cx="145571" cy="14557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4E8B4C10-9948-4467-A80F-A910BC801864}"/>
              </a:ext>
            </a:extLst>
          </p:cNvPr>
          <p:cNvSpPr/>
          <p:nvPr userDrawn="1"/>
        </p:nvSpPr>
        <p:spPr>
          <a:xfrm>
            <a:off x="9313129" y="517772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ADB8F8AC-9C88-4960-BA38-25BB4C771596}"/>
              </a:ext>
            </a:extLst>
          </p:cNvPr>
          <p:cNvSpPr/>
          <p:nvPr userDrawn="1"/>
        </p:nvSpPr>
        <p:spPr>
          <a:xfrm rot="2700000">
            <a:off x="3940117" y="943225"/>
            <a:ext cx="162161" cy="16216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8A26E4-40A4-4404-A118-CAA28552A570}"/>
              </a:ext>
            </a:extLst>
          </p:cNvPr>
          <p:cNvSpPr/>
          <p:nvPr userDrawn="1"/>
        </p:nvSpPr>
        <p:spPr>
          <a:xfrm>
            <a:off x="3904344" y="5706460"/>
            <a:ext cx="233706" cy="233706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6" name="Graphic 48">
            <a:extLst>
              <a:ext uri="{FF2B5EF4-FFF2-40B4-BE49-F238E27FC236}">
                <a16:creationId xmlns:a16="http://schemas.microsoft.com/office/drawing/2014/main" id="{0880F088-59DA-4642-8A6B-DCB94E40DB2F}"/>
              </a:ext>
            </a:extLst>
          </p:cNvPr>
          <p:cNvGrpSpPr/>
          <p:nvPr userDrawn="1"/>
        </p:nvGrpSpPr>
        <p:grpSpPr>
          <a:xfrm>
            <a:off x="8052772" y="906818"/>
            <a:ext cx="234886" cy="234974"/>
            <a:chOff x="7651892" y="875989"/>
            <a:chExt cx="210856" cy="210935"/>
          </a:xfrm>
          <a:solidFill>
            <a:srgbClr val="FFC900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FD6331-870A-4D53-BD52-E925157D0D7C}"/>
                </a:ext>
              </a:extLst>
            </p:cNvPr>
            <p:cNvSpPr/>
            <p:nvPr/>
          </p:nvSpPr>
          <p:spPr>
            <a:xfrm>
              <a:off x="7651912" y="875989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F7C4FEC-8369-475C-A508-7AE26FBFAF39}"/>
                </a:ext>
              </a:extLst>
            </p:cNvPr>
            <p:cNvSpPr/>
            <p:nvPr/>
          </p:nvSpPr>
          <p:spPr>
            <a:xfrm>
              <a:off x="7651912" y="875989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363B5F1-31F5-4E29-8BE1-E1A7E146B79E}"/>
                </a:ext>
              </a:extLst>
            </p:cNvPr>
            <p:cNvSpPr/>
            <p:nvPr/>
          </p:nvSpPr>
          <p:spPr>
            <a:xfrm>
              <a:off x="7709332" y="933507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20AB8E6-FF08-4507-AFCA-B818C5E22E80}"/>
                </a:ext>
              </a:extLst>
            </p:cNvPr>
            <p:cNvSpPr/>
            <p:nvPr/>
          </p:nvSpPr>
          <p:spPr>
            <a:xfrm>
              <a:off x="7651892" y="875989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5246772-4A26-49AD-9690-D0DD4D34CDD7}"/>
                </a:ext>
              </a:extLst>
            </p:cNvPr>
            <p:cNvSpPr/>
            <p:nvPr/>
          </p:nvSpPr>
          <p:spPr>
            <a:xfrm>
              <a:off x="7769205" y="993380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31D4F61-D27A-49B5-A157-79DFD6FEC064}"/>
                </a:ext>
              </a:extLst>
            </p:cNvPr>
            <p:cNvSpPr/>
            <p:nvPr/>
          </p:nvSpPr>
          <p:spPr>
            <a:xfrm>
              <a:off x="7651931" y="875989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9A964C8-22D4-4D7B-915C-694AA9878D43}"/>
                </a:ext>
              </a:extLst>
            </p:cNvPr>
            <p:cNvSpPr/>
            <p:nvPr/>
          </p:nvSpPr>
          <p:spPr>
            <a:xfrm>
              <a:off x="7828998" y="1053232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0D038116-A249-431A-A7D1-9EAC20B3F047}"/>
              </a:ext>
            </a:extLst>
          </p:cNvPr>
          <p:cNvSpPr/>
          <p:nvPr userDrawn="1"/>
        </p:nvSpPr>
        <p:spPr>
          <a:xfrm>
            <a:off x="8052958" y="5705608"/>
            <a:ext cx="234515" cy="235410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4490E001-EFD2-4634-9976-E523DAAF0CF7}"/>
              </a:ext>
            </a:extLst>
          </p:cNvPr>
          <p:cNvSpPr/>
          <p:nvPr userDrawn="1"/>
        </p:nvSpPr>
        <p:spPr>
          <a:xfrm>
            <a:off x="2057941" y="3323337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6" name="Graphic 45">
            <a:extLst>
              <a:ext uri="{FF2B5EF4-FFF2-40B4-BE49-F238E27FC236}">
                <a16:creationId xmlns:a16="http://schemas.microsoft.com/office/drawing/2014/main" id="{779C333D-47B7-48F6-A701-653B6320938C}"/>
              </a:ext>
            </a:extLst>
          </p:cNvPr>
          <p:cNvGrpSpPr/>
          <p:nvPr userDrawn="1"/>
        </p:nvGrpSpPr>
        <p:grpSpPr>
          <a:xfrm>
            <a:off x="9923204" y="3323533"/>
            <a:ext cx="210856" cy="210935"/>
            <a:chOff x="10112114" y="3433451"/>
            <a:chExt cx="210856" cy="210935"/>
          </a:xfrm>
          <a:solidFill>
            <a:srgbClr val="FFC900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A0B119B-8A50-42CB-A92A-7B4C9B51CDD2}"/>
                </a:ext>
              </a:extLst>
            </p:cNvPr>
            <p:cNvSpPr/>
            <p:nvPr/>
          </p:nvSpPr>
          <p:spPr>
            <a:xfrm>
              <a:off x="10112134" y="3433451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10E6D75-1600-4724-AE26-9E4A1C9A6904}"/>
                </a:ext>
              </a:extLst>
            </p:cNvPr>
            <p:cNvSpPr/>
            <p:nvPr/>
          </p:nvSpPr>
          <p:spPr>
            <a:xfrm>
              <a:off x="10112134" y="3433451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F9DEB93-C6B1-4246-9621-7AF79D1C2D99}"/>
                </a:ext>
              </a:extLst>
            </p:cNvPr>
            <p:cNvSpPr/>
            <p:nvPr/>
          </p:nvSpPr>
          <p:spPr>
            <a:xfrm>
              <a:off x="10169554" y="3490969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0938BF1-3AC5-4B94-A83E-44AA3692751B}"/>
                </a:ext>
              </a:extLst>
            </p:cNvPr>
            <p:cNvSpPr/>
            <p:nvPr/>
          </p:nvSpPr>
          <p:spPr>
            <a:xfrm>
              <a:off x="10112114" y="3433451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929A367-250C-4F70-8EE0-B722BAF72D05}"/>
                </a:ext>
              </a:extLst>
            </p:cNvPr>
            <p:cNvSpPr/>
            <p:nvPr/>
          </p:nvSpPr>
          <p:spPr>
            <a:xfrm>
              <a:off x="10229427" y="3550842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EC094D-5B6A-47CE-B341-CC2322FF158A}"/>
                </a:ext>
              </a:extLst>
            </p:cNvPr>
            <p:cNvSpPr/>
            <p:nvPr/>
          </p:nvSpPr>
          <p:spPr>
            <a:xfrm>
              <a:off x="10112153" y="3433451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2DD03E7-D279-49E8-B767-5A13C21E9FD2}"/>
                </a:ext>
              </a:extLst>
            </p:cNvPr>
            <p:cNvSpPr/>
            <p:nvPr/>
          </p:nvSpPr>
          <p:spPr>
            <a:xfrm>
              <a:off x="10289220" y="3610694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BAD187B-B99F-43BB-8830-79C325CE968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1D97CAB-187C-44A5-B171-10C41448563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3B9F34-6AF0-4DE0-A690-865A3B8A4B3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6279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13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">
            <a:extLst>
              <a:ext uri="{FF2B5EF4-FFF2-40B4-BE49-F238E27FC236}">
                <a16:creationId xmlns:a16="http://schemas.microsoft.com/office/drawing/2014/main" id="{B8C617A5-3A7F-4BEC-84F3-0189ED5D685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FFC90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AB0F6F4-F536-479B-B7B1-415334A0E1AD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19919" b="20630"/>
          <a:stretch>
            <a:fillRect/>
          </a:stretch>
        </p:blipFill>
        <p:spPr>
          <a:xfrm>
            <a:off x="328246" y="-1"/>
            <a:ext cx="11535508" cy="6858000"/>
          </a:xfrm>
          <a:custGeom>
            <a:avLst/>
            <a:gdLst>
              <a:gd name="connsiteX0" fmla="*/ 0 w 11535508"/>
              <a:gd name="connsiteY0" fmla="*/ 0 h 6858000"/>
              <a:gd name="connsiteX1" fmla="*/ 11535508 w 11535508"/>
              <a:gd name="connsiteY1" fmla="*/ 0 h 6858000"/>
              <a:gd name="connsiteX2" fmla="*/ 11535508 w 11535508"/>
              <a:gd name="connsiteY2" fmla="*/ 6858000 h 6858000"/>
              <a:gd name="connsiteX3" fmla="*/ 0 w 115355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35508" h="6858000">
                <a:moveTo>
                  <a:pt x="0" y="0"/>
                </a:moveTo>
                <a:lnTo>
                  <a:pt x="11535508" y="0"/>
                </a:lnTo>
                <a:lnTo>
                  <a:pt x="1153550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6BAD187B-B99F-43BB-8830-79C325CE968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1D97CAB-187C-44A5-B171-10C41448563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F367A28-7F32-496E-87BD-3F68FFA7BA8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51942" y="6450013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9460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586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Light">
            <a:extLst>
              <a:ext uri="{FF2B5EF4-FFF2-40B4-BE49-F238E27FC236}">
                <a16:creationId xmlns:a16="http://schemas.microsoft.com/office/drawing/2014/main" id="{2C8ADB72-7989-473C-8760-5C4606BC01E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FFC90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535A8765-61D7-4DC6-BE4C-D25924A2481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ED3AB073-2801-40DF-B998-443719A1DF8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1942" y="6450013"/>
            <a:ext cx="651600" cy="224889"/>
          </a:xfrm>
          <a:prstGeom prst="rect">
            <a:avLst/>
          </a:pr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6BAD187B-B99F-43BB-8830-79C325CE968C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4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31D97CAB-187C-44A5-B171-10C414485630}"/>
              </a:ext>
            </a:extLst>
          </p:cNvPr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0ED9A329-DD98-46CD-B75E-DD33805DB9A0}"/>
              </a:ext>
            </a:extLst>
          </p:cNvPr>
          <p:cNvSpPr/>
          <p:nvPr userDrawn="1"/>
        </p:nvSpPr>
        <p:spPr>
          <a:xfrm>
            <a:off x="1356286" y="2038280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7" name="Graphic 33">
            <a:extLst>
              <a:ext uri="{FF2B5EF4-FFF2-40B4-BE49-F238E27FC236}">
                <a16:creationId xmlns:a16="http://schemas.microsoft.com/office/drawing/2014/main" id="{6A90BFD1-B603-46B7-90A3-3464C95F6FDE}"/>
              </a:ext>
            </a:extLst>
          </p:cNvPr>
          <p:cNvGrpSpPr/>
          <p:nvPr userDrawn="1"/>
        </p:nvGrpSpPr>
        <p:grpSpPr>
          <a:xfrm>
            <a:off x="1356286" y="4492867"/>
            <a:ext cx="324073" cy="324194"/>
            <a:chOff x="1447630" y="5547551"/>
            <a:chExt cx="324073" cy="324194"/>
          </a:xfrm>
          <a:solidFill>
            <a:schemeClr val="bg1"/>
          </a:solidFill>
        </p:grpSpPr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844A937-8B7B-4D6E-B2D0-A2C6D522B881}"/>
                </a:ext>
              </a:extLst>
            </p:cNvPr>
            <p:cNvSpPr/>
            <p:nvPr/>
          </p:nvSpPr>
          <p:spPr>
            <a:xfrm>
              <a:off x="1447660" y="5547551"/>
              <a:ext cx="324042" cy="324194"/>
            </a:xfrm>
            <a:custGeom>
              <a:avLst/>
              <a:gdLst>
                <a:gd name="connsiteX0" fmla="*/ 324013 w 324042"/>
                <a:gd name="connsiteY0" fmla="*/ 43282 h 324194"/>
                <a:gd name="connsiteX1" fmla="*/ 321571 w 324042"/>
                <a:gd name="connsiteY1" fmla="*/ 45452 h 324194"/>
                <a:gd name="connsiteX2" fmla="*/ 45151 w 324042"/>
                <a:gd name="connsiteY2" fmla="*/ 321933 h 324194"/>
                <a:gd name="connsiteX3" fmla="*/ 39695 w 324042"/>
                <a:gd name="connsiteY3" fmla="*/ 324194 h 324194"/>
                <a:gd name="connsiteX4" fmla="*/ 3346 w 324042"/>
                <a:gd name="connsiteY4" fmla="*/ 324133 h 324194"/>
                <a:gd name="connsiteX5" fmla="*/ 0 w 324042"/>
                <a:gd name="connsiteY5" fmla="*/ 324133 h 324194"/>
                <a:gd name="connsiteX6" fmla="*/ 0 w 324042"/>
                <a:gd name="connsiteY6" fmla="*/ 320547 h 324194"/>
                <a:gd name="connsiteX7" fmla="*/ 995 w 324042"/>
                <a:gd name="connsiteY7" fmla="*/ 319281 h 324194"/>
                <a:gd name="connsiteX8" fmla="*/ 3225 w 324042"/>
                <a:gd name="connsiteY8" fmla="*/ 316869 h 324194"/>
                <a:gd name="connsiteX9" fmla="*/ 317653 w 324042"/>
                <a:gd name="connsiteY9" fmla="*/ 2441 h 324194"/>
                <a:gd name="connsiteX10" fmla="*/ 319823 w 324042"/>
                <a:gd name="connsiteY10" fmla="*/ 0 h 324194"/>
                <a:gd name="connsiteX11" fmla="*/ 324043 w 324042"/>
                <a:gd name="connsiteY11" fmla="*/ 0 h 324194"/>
                <a:gd name="connsiteX12" fmla="*/ 324043 w 324042"/>
                <a:gd name="connsiteY12" fmla="*/ 43312 h 32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042" h="324194">
                  <a:moveTo>
                    <a:pt x="324013" y="43282"/>
                  </a:moveTo>
                  <a:cubicBezTo>
                    <a:pt x="323199" y="44005"/>
                    <a:pt x="322355" y="44669"/>
                    <a:pt x="321571" y="45452"/>
                  </a:cubicBezTo>
                  <a:cubicBezTo>
                    <a:pt x="229401" y="137592"/>
                    <a:pt x="137261" y="229733"/>
                    <a:pt x="45151" y="321933"/>
                  </a:cubicBezTo>
                  <a:cubicBezTo>
                    <a:pt x="43523" y="323561"/>
                    <a:pt x="41956" y="324224"/>
                    <a:pt x="39695" y="324194"/>
                  </a:cubicBezTo>
                  <a:cubicBezTo>
                    <a:pt x="27579" y="324103"/>
                    <a:pt x="15462" y="324133"/>
                    <a:pt x="3346" y="324133"/>
                  </a:cubicBezTo>
                  <a:lnTo>
                    <a:pt x="0" y="324133"/>
                  </a:lnTo>
                  <a:cubicBezTo>
                    <a:pt x="0" y="322717"/>
                    <a:pt x="0" y="321632"/>
                    <a:pt x="0" y="320547"/>
                  </a:cubicBezTo>
                  <a:cubicBezTo>
                    <a:pt x="332" y="320125"/>
                    <a:pt x="663" y="319703"/>
                    <a:pt x="995" y="319281"/>
                  </a:cubicBezTo>
                  <a:cubicBezTo>
                    <a:pt x="1748" y="318467"/>
                    <a:pt x="2441" y="317653"/>
                    <a:pt x="3225" y="316869"/>
                  </a:cubicBezTo>
                  <a:cubicBezTo>
                    <a:pt x="108024" y="212070"/>
                    <a:pt x="212854" y="107241"/>
                    <a:pt x="317653" y="2441"/>
                  </a:cubicBezTo>
                  <a:cubicBezTo>
                    <a:pt x="318407" y="1688"/>
                    <a:pt x="319100" y="814"/>
                    <a:pt x="319823" y="0"/>
                  </a:cubicBezTo>
                  <a:cubicBezTo>
                    <a:pt x="321240" y="0"/>
                    <a:pt x="322626" y="0"/>
                    <a:pt x="324043" y="0"/>
                  </a:cubicBezTo>
                  <a:lnTo>
                    <a:pt x="324043" y="4331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D606F48-CFCA-4A5E-B077-C7923131C7E1}"/>
                </a:ext>
              </a:extLst>
            </p:cNvPr>
            <p:cNvSpPr/>
            <p:nvPr/>
          </p:nvSpPr>
          <p:spPr>
            <a:xfrm>
              <a:off x="1447660" y="5547551"/>
              <a:ext cx="274702" cy="274250"/>
            </a:xfrm>
            <a:custGeom>
              <a:avLst/>
              <a:gdLst>
                <a:gd name="connsiteX0" fmla="*/ 274703 w 274702"/>
                <a:gd name="connsiteY0" fmla="*/ 0 h 274250"/>
                <a:gd name="connsiteX1" fmla="*/ 272774 w 274702"/>
                <a:gd name="connsiteY1" fmla="*/ 2230 h 274250"/>
                <a:gd name="connsiteX2" fmla="*/ 2954 w 274702"/>
                <a:gd name="connsiteY2" fmla="*/ 272050 h 274250"/>
                <a:gd name="connsiteX3" fmla="*/ 512 w 274702"/>
                <a:gd name="connsiteY3" fmla="*/ 274250 h 274250"/>
                <a:gd name="connsiteX4" fmla="*/ 0 w 274702"/>
                <a:gd name="connsiteY4" fmla="*/ 274220 h 274250"/>
                <a:gd name="connsiteX5" fmla="*/ 0 w 274702"/>
                <a:gd name="connsiteY5" fmla="*/ 228557 h 274250"/>
                <a:gd name="connsiteX6" fmla="*/ 1085 w 274702"/>
                <a:gd name="connsiteY6" fmla="*/ 227412 h 274250"/>
                <a:gd name="connsiteX7" fmla="*/ 2863 w 274702"/>
                <a:gd name="connsiteY7" fmla="*/ 225844 h 274250"/>
                <a:gd name="connsiteX8" fmla="*/ 226658 w 274702"/>
                <a:gd name="connsiteY8" fmla="*/ 2050 h 274250"/>
                <a:gd name="connsiteX9" fmla="*/ 228376 w 274702"/>
                <a:gd name="connsiteY9" fmla="*/ 30 h 274250"/>
                <a:gd name="connsiteX10" fmla="*/ 274672 w 274702"/>
                <a:gd name="connsiteY10" fmla="*/ 30 h 27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702" h="274250">
                  <a:moveTo>
                    <a:pt x="274703" y="0"/>
                  </a:moveTo>
                  <a:cubicBezTo>
                    <a:pt x="274070" y="754"/>
                    <a:pt x="273467" y="1537"/>
                    <a:pt x="272774" y="2230"/>
                  </a:cubicBezTo>
                  <a:cubicBezTo>
                    <a:pt x="182834" y="92170"/>
                    <a:pt x="92894" y="182110"/>
                    <a:pt x="2954" y="272050"/>
                  </a:cubicBezTo>
                  <a:cubicBezTo>
                    <a:pt x="2170" y="272834"/>
                    <a:pt x="1326" y="273527"/>
                    <a:pt x="512" y="274250"/>
                  </a:cubicBezTo>
                  <a:cubicBezTo>
                    <a:pt x="332" y="274250"/>
                    <a:pt x="181" y="274250"/>
                    <a:pt x="0" y="274220"/>
                  </a:cubicBezTo>
                  <a:cubicBezTo>
                    <a:pt x="0" y="258999"/>
                    <a:pt x="0" y="243778"/>
                    <a:pt x="0" y="228557"/>
                  </a:cubicBezTo>
                  <a:cubicBezTo>
                    <a:pt x="362" y="228165"/>
                    <a:pt x="723" y="227804"/>
                    <a:pt x="1085" y="227412"/>
                  </a:cubicBezTo>
                  <a:cubicBezTo>
                    <a:pt x="1688" y="226899"/>
                    <a:pt x="2321" y="226387"/>
                    <a:pt x="2863" y="225844"/>
                  </a:cubicBezTo>
                  <a:cubicBezTo>
                    <a:pt x="77462" y="151246"/>
                    <a:pt x="152060" y="76648"/>
                    <a:pt x="226658" y="2050"/>
                  </a:cubicBezTo>
                  <a:cubicBezTo>
                    <a:pt x="227291" y="1417"/>
                    <a:pt x="227804" y="693"/>
                    <a:pt x="228376" y="30"/>
                  </a:cubicBezTo>
                  <a:cubicBezTo>
                    <a:pt x="243808" y="30"/>
                    <a:pt x="259240" y="30"/>
                    <a:pt x="274672" y="3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160CB61E-BDE1-4148-8AD9-A9E7083991AF}"/>
                </a:ext>
              </a:extLst>
            </p:cNvPr>
            <p:cNvSpPr/>
            <p:nvPr/>
          </p:nvSpPr>
          <p:spPr>
            <a:xfrm>
              <a:off x="1535912" y="5635954"/>
              <a:ext cx="235760" cy="235791"/>
            </a:xfrm>
            <a:custGeom>
              <a:avLst/>
              <a:gdLst>
                <a:gd name="connsiteX0" fmla="*/ 235761 w 235760"/>
                <a:gd name="connsiteY0" fmla="*/ 46899 h 235791"/>
                <a:gd name="connsiteX1" fmla="*/ 233319 w 235760"/>
                <a:gd name="connsiteY1" fmla="*/ 49069 h 235791"/>
                <a:gd name="connsiteX2" fmla="*/ 49099 w 235760"/>
                <a:gd name="connsiteY2" fmla="*/ 233380 h 235791"/>
                <a:gd name="connsiteX3" fmla="*/ 43101 w 235760"/>
                <a:gd name="connsiteY3" fmla="*/ 235791 h 235791"/>
                <a:gd name="connsiteX4" fmla="*/ 0 w 235760"/>
                <a:gd name="connsiteY4" fmla="*/ 235731 h 235791"/>
                <a:gd name="connsiteX5" fmla="*/ 1869 w 235760"/>
                <a:gd name="connsiteY5" fmla="*/ 233591 h 235791"/>
                <a:gd name="connsiteX6" fmla="*/ 233952 w 235760"/>
                <a:gd name="connsiteY6" fmla="*/ 1507 h 235791"/>
                <a:gd name="connsiteX7" fmla="*/ 235761 w 235760"/>
                <a:gd name="connsiteY7" fmla="*/ 0 h 235791"/>
                <a:gd name="connsiteX8" fmla="*/ 235761 w 235760"/>
                <a:gd name="connsiteY8" fmla="*/ 46899 h 23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760" h="235791">
                  <a:moveTo>
                    <a:pt x="235761" y="46899"/>
                  </a:moveTo>
                  <a:cubicBezTo>
                    <a:pt x="234947" y="47622"/>
                    <a:pt x="234103" y="48285"/>
                    <a:pt x="233319" y="49069"/>
                  </a:cubicBezTo>
                  <a:cubicBezTo>
                    <a:pt x="171893" y="110496"/>
                    <a:pt x="110466" y="171893"/>
                    <a:pt x="49099" y="233380"/>
                  </a:cubicBezTo>
                  <a:cubicBezTo>
                    <a:pt x="47291" y="235188"/>
                    <a:pt x="45543" y="235821"/>
                    <a:pt x="43101" y="235791"/>
                  </a:cubicBezTo>
                  <a:cubicBezTo>
                    <a:pt x="28875" y="235700"/>
                    <a:pt x="14679" y="235731"/>
                    <a:pt x="0" y="235731"/>
                  </a:cubicBezTo>
                  <a:cubicBezTo>
                    <a:pt x="784" y="234826"/>
                    <a:pt x="1296" y="234163"/>
                    <a:pt x="1869" y="233591"/>
                  </a:cubicBezTo>
                  <a:cubicBezTo>
                    <a:pt x="79240" y="156219"/>
                    <a:pt x="156581" y="78878"/>
                    <a:pt x="233952" y="1507"/>
                  </a:cubicBezTo>
                  <a:cubicBezTo>
                    <a:pt x="234495" y="964"/>
                    <a:pt x="235158" y="482"/>
                    <a:pt x="235761" y="0"/>
                  </a:cubicBezTo>
                  <a:lnTo>
                    <a:pt x="23576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DE9792E-C230-44CF-91AC-2949DE9183D5}"/>
                </a:ext>
              </a:extLst>
            </p:cNvPr>
            <p:cNvSpPr/>
            <p:nvPr/>
          </p:nvSpPr>
          <p:spPr>
            <a:xfrm>
              <a:off x="1447630" y="5547551"/>
              <a:ext cx="183315" cy="182291"/>
            </a:xfrm>
            <a:custGeom>
              <a:avLst/>
              <a:gdLst>
                <a:gd name="connsiteX0" fmla="*/ 183316 w 183315"/>
                <a:gd name="connsiteY0" fmla="*/ 0 h 182291"/>
                <a:gd name="connsiteX1" fmla="*/ 181809 w 183315"/>
                <a:gd name="connsiteY1" fmla="*/ 1808 h 182291"/>
                <a:gd name="connsiteX2" fmla="*/ 2713 w 183315"/>
                <a:gd name="connsiteY2" fmla="*/ 180905 h 182291"/>
                <a:gd name="connsiteX3" fmla="*/ 1145 w 183315"/>
                <a:gd name="connsiteY3" fmla="*/ 182291 h 182291"/>
                <a:gd name="connsiteX4" fmla="*/ 0 w 183315"/>
                <a:gd name="connsiteY4" fmla="*/ 181628 h 182291"/>
                <a:gd name="connsiteX5" fmla="*/ 0 w 183315"/>
                <a:gd name="connsiteY5" fmla="*/ 137713 h 182291"/>
                <a:gd name="connsiteX6" fmla="*/ 452 w 183315"/>
                <a:gd name="connsiteY6" fmla="*/ 136477 h 182291"/>
                <a:gd name="connsiteX7" fmla="*/ 1115 w 183315"/>
                <a:gd name="connsiteY7" fmla="*/ 135392 h 182291"/>
                <a:gd name="connsiteX8" fmla="*/ 2683 w 183315"/>
                <a:gd name="connsiteY8" fmla="*/ 134036 h 182291"/>
                <a:gd name="connsiteX9" fmla="*/ 134880 w 183315"/>
                <a:gd name="connsiteY9" fmla="*/ 1808 h 182291"/>
                <a:gd name="connsiteX10" fmla="*/ 136387 w 183315"/>
                <a:gd name="connsiteY10" fmla="*/ 0 h 182291"/>
                <a:gd name="connsiteX11" fmla="*/ 183286 w 183315"/>
                <a:gd name="connsiteY11" fmla="*/ 0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315" h="182291">
                  <a:moveTo>
                    <a:pt x="183316" y="0"/>
                  </a:moveTo>
                  <a:cubicBezTo>
                    <a:pt x="182804" y="603"/>
                    <a:pt x="182351" y="1266"/>
                    <a:pt x="181809" y="1808"/>
                  </a:cubicBezTo>
                  <a:cubicBezTo>
                    <a:pt x="122130" y="61517"/>
                    <a:pt x="62421" y="121226"/>
                    <a:pt x="2713" y="180905"/>
                  </a:cubicBezTo>
                  <a:cubicBezTo>
                    <a:pt x="2230" y="181387"/>
                    <a:pt x="1658" y="181809"/>
                    <a:pt x="1145" y="182291"/>
                  </a:cubicBezTo>
                  <a:cubicBezTo>
                    <a:pt x="754" y="182080"/>
                    <a:pt x="392" y="181839"/>
                    <a:pt x="0" y="181628"/>
                  </a:cubicBezTo>
                  <a:cubicBezTo>
                    <a:pt x="0" y="166980"/>
                    <a:pt x="0" y="152361"/>
                    <a:pt x="0" y="137713"/>
                  </a:cubicBezTo>
                  <a:cubicBezTo>
                    <a:pt x="151" y="137291"/>
                    <a:pt x="301" y="136899"/>
                    <a:pt x="452" y="136477"/>
                  </a:cubicBezTo>
                  <a:cubicBezTo>
                    <a:pt x="663" y="136116"/>
                    <a:pt x="874" y="135754"/>
                    <a:pt x="1115" y="135392"/>
                  </a:cubicBezTo>
                  <a:cubicBezTo>
                    <a:pt x="1628" y="134940"/>
                    <a:pt x="2200" y="134518"/>
                    <a:pt x="2683" y="134036"/>
                  </a:cubicBezTo>
                  <a:cubicBezTo>
                    <a:pt x="46748" y="89970"/>
                    <a:pt x="90814" y="45904"/>
                    <a:pt x="134880" y="1808"/>
                  </a:cubicBezTo>
                  <a:cubicBezTo>
                    <a:pt x="135422" y="1266"/>
                    <a:pt x="135905" y="603"/>
                    <a:pt x="136387" y="0"/>
                  </a:cubicBezTo>
                  <a:cubicBezTo>
                    <a:pt x="152030" y="0"/>
                    <a:pt x="167673" y="0"/>
                    <a:pt x="18328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226F68-F5A6-4F04-BFB9-522DDA468B8D}"/>
                </a:ext>
              </a:extLst>
            </p:cNvPr>
            <p:cNvSpPr/>
            <p:nvPr/>
          </p:nvSpPr>
          <p:spPr>
            <a:xfrm>
              <a:off x="1627931" y="5727974"/>
              <a:ext cx="143741" cy="143742"/>
            </a:xfrm>
            <a:custGeom>
              <a:avLst/>
              <a:gdLst>
                <a:gd name="connsiteX0" fmla="*/ 143741 w 143741"/>
                <a:gd name="connsiteY0" fmla="*/ 46899 h 143742"/>
                <a:gd name="connsiteX1" fmla="*/ 141300 w 143741"/>
                <a:gd name="connsiteY1" fmla="*/ 49069 h 143742"/>
                <a:gd name="connsiteX2" fmla="*/ 48888 w 143741"/>
                <a:gd name="connsiteY2" fmla="*/ 141541 h 143742"/>
                <a:gd name="connsiteX3" fmla="*/ 43403 w 143741"/>
                <a:gd name="connsiteY3" fmla="*/ 143741 h 143742"/>
                <a:gd name="connsiteX4" fmla="*/ 0 w 143741"/>
                <a:gd name="connsiteY4" fmla="*/ 143711 h 143742"/>
                <a:gd name="connsiteX5" fmla="*/ 1447 w 143741"/>
                <a:gd name="connsiteY5" fmla="*/ 141993 h 143742"/>
                <a:gd name="connsiteX6" fmla="*/ 142355 w 143741"/>
                <a:gd name="connsiteY6" fmla="*/ 1085 h 143742"/>
                <a:gd name="connsiteX7" fmla="*/ 143741 w 143741"/>
                <a:gd name="connsiteY7" fmla="*/ 0 h 143742"/>
                <a:gd name="connsiteX8" fmla="*/ 143741 w 143741"/>
                <a:gd name="connsiteY8" fmla="*/ 46899 h 14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741" h="143742">
                  <a:moveTo>
                    <a:pt x="143741" y="46899"/>
                  </a:moveTo>
                  <a:cubicBezTo>
                    <a:pt x="142927" y="47622"/>
                    <a:pt x="142083" y="48285"/>
                    <a:pt x="141300" y="49069"/>
                  </a:cubicBezTo>
                  <a:cubicBezTo>
                    <a:pt x="110466" y="79873"/>
                    <a:pt x="79632" y="110677"/>
                    <a:pt x="48888" y="141541"/>
                  </a:cubicBezTo>
                  <a:cubicBezTo>
                    <a:pt x="47261" y="143168"/>
                    <a:pt x="45663" y="143771"/>
                    <a:pt x="43403" y="143741"/>
                  </a:cubicBezTo>
                  <a:cubicBezTo>
                    <a:pt x="29086" y="143651"/>
                    <a:pt x="14769" y="143711"/>
                    <a:pt x="0" y="143711"/>
                  </a:cubicBezTo>
                  <a:cubicBezTo>
                    <a:pt x="633" y="142957"/>
                    <a:pt x="995" y="142415"/>
                    <a:pt x="1447" y="141993"/>
                  </a:cubicBezTo>
                  <a:cubicBezTo>
                    <a:pt x="48406" y="95004"/>
                    <a:pt x="95395" y="48044"/>
                    <a:pt x="142355" y="1085"/>
                  </a:cubicBezTo>
                  <a:cubicBezTo>
                    <a:pt x="142777" y="663"/>
                    <a:pt x="143289" y="362"/>
                    <a:pt x="143741" y="0"/>
                  </a:cubicBezTo>
                  <a:lnTo>
                    <a:pt x="14374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2BBB6DFF-AC8A-4E17-A047-3AC18010D27C}"/>
                </a:ext>
              </a:extLst>
            </p:cNvPr>
            <p:cNvSpPr/>
            <p:nvPr/>
          </p:nvSpPr>
          <p:spPr>
            <a:xfrm>
              <a:off x="1447690" y="5547551"/>
              <a:ext cx="91296" cy="90271"/>
            </a:xfrm>
            <a:custGeom>
              <a:avLst/>
              <a:gdLst>
                <a:gd name="connsiteX0" fmla="*/ 91266 w 91296"/>
                <a:gd name="connsiteY0" fmla="*/ 0 h 90271"/>
                <a:gd name="connsiteX1" fmla="*/ 89970 w 91296"/>
                <a:gd name="connsiteY1" fmla="*/ 1597 h 90271"/>
                <a:gd name="connsiteX2" fmla="*/ 2261 w 91296"/>
                <a:gd name="connsiteY2" fmla="*/ 89307 h 90271"/>
                <a:gd name="connsiteX3" fmla="*/ 1145 w 91296"/>
                <a:gd name="connsiteY3" fmla="*/ 90271 h 90271"/>
                <a:gd name="connsiteX4" fmla="*/ 0 w 91296"/>
                <a:gd name="connsiteY4" fmla="*/ 89608 h 90271"/>
                <a:gd name="connsiteX5" fmla="*/ 0 w 91296"/>
                <a:gd name="connsiteY5" fmla="*/ 45091 h 90271"/>
                <a:gd name="connsiteX6" fmla="*/ 965 w 91296"/>
                <a:gd name="connsiteY6" fmla="*/ 43885 h 90271"/>
                <a:gd name="connsiteX7" fmla="*/ 40117 w 91296"/>
                <a:gd name="connsiteY7" fmla="*/ 4551 h 90271"/>
                <a:gd name="connsiteX8" fmla="*/ 44397 w 91296"/>
                <a:gd name="connsiteY8" fmla="*/ 0 h 90271"/>
                <a:gd name="connsiteX9" fmla="*/ 91296 w 91296"/>
                <a:gd name="connsiteY9" fmla="*/ 0 h 9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90271">
                  <a:moveTo>
                    <a:pt x="91266" y="0"/>
                  </a:moveTo>
                  <a:cubicBezTo>
                    <a:pt x="90844" y="543"/>
                    <a:pt x="90452" y="1115"/>
                    <a:pt x="89970" y="1597"/>
                  </a:cubicBezTo>
                  <a:cubicBezTo>
                    <a:pt x="60734" y="30834"/>
                    <a:pt x="31497" y="60070"/>
                    <a:pt x="2261" y="89307"/>
                  </a:cubicBezTo>
                  <a:cubicBezTo>
                    <a:pt x="1899" y="89669"/>
                    <a:pt x="1507" y="89940"/>
                    <a:pt x="1145" y="90271"/>
                  </a:cubicBezTo>
                  <a:cubicBezTo>
                    <a:pt x="754" y="90060"/>
                    <a:pt x="392" y="89819"/>
                    <a:pt x="0" y="89608"/>
                  </a:cubicBezTo>
                  <a:cubicBezTo>
                    <a:pt x="0" y="74779"/>
                    <a:pt x="0" y="59920"/>
                    <a:pt x="0" y="45091"/>
                  </a:cubicBezTo>
                  <a:cubicBezTo>
                    <a:pt x="332" y="44699"/>
                    <a:pt x="633" y="44277"/>
                    <a:pt x="965" y="43885"/>
                  </a:cubicBezTo>
                  <a:cubicBezTo>
                    <a:pt x="14015" y="30774"/>
                    <a:pt x="27066" y="17662"/>
                    <a:pt x="40117" y="4551"/>
                  </a:cubicBezTo>
                  <a:cubicBezTo>
                    <a:pt x="41594" y="3074"/>
                    <a:pt x="42981" y="1507"/>
                    <a:pt x="44397" y="0"/>
                  </a:cubicBezTo>
                  <a:cubicBezTo>
                    <a:pt x="60040" y="0"/>
                    <a:pt x="75683" y="0"/>
                    <a:pt x="9129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4A37A3A7-FA62-4FE7-86F3-8344E26AF1E6}"/>
                </a:ext>
              </a:extLst>
            </p:cNvPr>
            <p:cNvSpPr/>
            <p:nvPr/>
          </p:nvSpPr>
          <p:spPr>
            <a:xfrm>
              <a:off x="1719831" y="5819963"/>
              <a:ext cx="51842" cy="51721"/>
            </a:xfrm>
            <a:custGeom>
              <a:avLst/>
              <a:gdLst>
                <a:gd name="connsiteX0" fmla="*/ 51842 w 51842"/>
                <a:gd name="connsiteY0" fmla="*/ 51721 h 51721"/>
                <a:gd name="connsiteX1" fmla="*/ 0 w 51842"/>
                <a:gd name="connsiteY1" fmla="*/ 51721 h 51721"/>
                <a:gd name="connsiteX2" fmla="*/ 1386 w 51842"/>
                <a:gd name="connsiteY2" fmla="*/ 50154 h 51721"/>
                <a:gd name="connsiteX3" fmla="*/ 50456 w 51842"/>
                <a:gd name="connsiteY3" fmla="*/ 1085 h 51721"/>
                <a:gd name="connsiteX4" fmla="*/ 51842 w 51842"/>
                <a:gd name="connsiteY4" fmla="*/ 0 h 51721"/>
                <a:gd name="connsiteX5" fmla="*/ 51842 w 51842"/>
                <a:gd name="connsiteY5" fmla="*/ 51721 h 5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42" h="51721">
                  <a:moveTo>
                    <a:pt x="51842" y="51721"/>
                  </a:moveTo>
                  <a:lnTo>
                    <a:pt x="0" y="51721"/>
                  </a:lnTo>
                  <a:cubicBezTo>
                    <a:pt x="663" y="50968"/>
                    <a:pt x="995" y="50546"/>
                    <a:pt x="1386" y="50154"/>
                  </a:cubicBezTo>
                  <a:cubicBezTo>
                    <a:pt x="17753" y="33788"/>
                    <a:pt x="34089" y="17421"/>
                    <a:pt x="50456" y="1085"/>
                  </a:cubicBezTo>
                  <a:cubicBezTo>
                    <a:pt x="50878" y="663"/>
                    <a:pt x="51360" y="362"/>
                    <a:pt x="51842" y="0"/>
                  </a:cubicBezTo>
                  <a:lnTo>
                    <a:pt x="51842" y="5172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2B84D244-F6E4-411F-A319-F691F0C1CCE0}"/>
              </a:ext>
            </a:extLst>
          </p:cNvPr>
          <p:cNvSpPr/>
          <p:nvPr userDrawn="1"/>
        </p:nvSpPr>
        <p:spPr>
          <a:xfrm>
            <a:off x="10511218" y="1983900"/>
            <a:ext cx="323560" cy="324796"/>
          </a:xfrm>
          <a:custGeom>
            <a:avLst/>
            <a:gdLst>
              <a:gd name="connsiteX0" fmla="*/ 323561 w 323560"/>
              <a:gd name="connsiteY0" fmla="*/ 320848 h 324796"/>
              <a:gd name="connsiteX1" fmla="*/ 323531 w 323560"/>
              <a:gd name="connsiteY1" fmla="*/ 320336 h 324796"/>
              <a:gd name="connsiteX2" fmla="*/ 323531 w 323560"/>
              <a:gd name="connsiteY2" fmla="*/ 0 h 324796"/>
              <a:gd name="connsiteX3" fmla="*/ 0 w 323560"/>
              <a:gd name="connsiteY3" fmla="*/ 0 h 324796"/>
              <a:gd name="connsiteX4" fmla="*/ 0 w 323560"/>
              <a:gd name="connsiteY4" fmla="*/ 3104 h 324796"/>
              <a:gd name="connsiteX5" fmla="*/ 181 w 323560"/>
              <a:gd name="connsiteY5" fmla="*/ 4370 h 324796"/>
              <a:gd name="connsiteX6" fmla="*/ 3979 w 323560"/>
              <a:gd name="connsiteY6" fmla="*/ 50817 h 324796"/>
              <a:gd name="connsiteX7" fmla="*/ 12900 w 323560"/>
              <a:gd name="connsiteY7" fmla="*/ 91537 h 324796"/>
              <a:gd name="connsiteX8" fmla="*/ 30141 w 323560"/>
              <a:gd name="connsiteY8" fmla="*/ 138225 h 324796"/>
              <a:gd name="connsiteX9" fmla="*/ 43945 w 323560"/>
              <a:gd name="connsiteY9" fmla="*/ 164538 h 324796"/>
              <a:gd name="connsiteX10" fmla="*/ 86444 w 323560"/>
              <a:gd name="connsiteY10" fmla="*/ 222197 h 324796"/>
              <a:gd name="connsiteX11" fmla="*/ 130509 w 323560"/>
              <a:gd name="connsiteY11" fmla="*/ 261923 h 324796"/>
              <a:gd name="connsiteX12" fmla="*/ 166196 w 323560"/>
              <a:gd name="connsiteY12" fmla="*/ 285372 h 324796"/>
              <a:gd name="connsiteX13" fmla="*/ 219515 w 323560"/>
              <a:gd name="connsiteY13" fmla="*/ 309726 h 324796"/>
              <a:gd name="connsiteX14" fmla="*/ 284890 w 323560"/>
              <a:gd name="connsiteY14" fmla="*/ 324766 h 324796"/>
              <a:gd name="connsiteX15" fmla="*/ 285252 w 323560"/>
              <a:gd name="connsiteY15" fmla="*/ 324796 h 324796"/>
              <a:gd name="connsiteX16" fmla="*/ 323531 w 323560"/>
              <a:gd name="connsiteY16" fmla="*/ 324796 h 324796"/>
              <a:gd name="connsiteX17" fmla="*/ 323531 w 323560"/>
              <a:gd name="connsiteY17" fmla="*/ 320818 h 3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3560" h="324796">
                <a:moveTo>
                  <a:pt x="323561" y="320848"/>
                </a:moveTo>
                <a:cubicBezTo>
                  <a:pt x="323561" y="320667"/>
                  <a:pt x="323531" y="320516"/>
                  <a:pt x="323531" y="320336"/>
                </a:cubicBezTo>
                <a:cubicBezTo>
                  <a:pt x="323531" y="307466"/>
                  <a:pt x="323531" y="14076"/>
                  <a:pt x="323531" y="0"/>
                </a:cubicBezTo>
                <a:lnTo>
                  <a:pt x="0" y="0"/>
                </a:lnTo>
                <a:lnTo>
                  <a:pt x="0" y="3104"/>
                </a:lnTo>
                <a:cubicBezTo>
                  <a:pt x="90" y="3466"/>
                  <a:pt x="151" y="3888"/>
                  <a:pt x="181" y="4370"/>
                </a:cubicBezTo>
                <a:cubicBezTo>
                  <a:pt x="1296" y="19863"/>
                  <a:pt x="1778" y="35476"/>
                  <a:pt x="3979" y="50817"/>
                </a:cubicBezTo>
                <a:cubicBezTo>
                  <a:pt x="5938" y="64531"/>
                  <a:pt x="9524" y="78064"/>
                  <a:pt x="12900" y="91537"/>
                </a:cubicBezTo>
                <a:cubicBezTo>
                  <a:pt x="16969" y="107693"/>
                  <a:pt x="23178" y="123125"/>
                  <a:pt x="30141" y="138225"/>
                </a:cubicBezTo>
                <a:cubicBezTo>
                  <a:pt x="34270" y="147207"/>
                  <a:pt x="39093" y="155918"/>
                  <a:pt x="43945" y="164538"/>
                </a:cubicBezTo>
                <a:cubicBezTo>
                  <a:pt x="55760" y="185456"/>
                  <a:pt x="70137" y="204505"/>
                  <a:pt x="86444" y="222197"/>
                </a:cubicBezTo>
                <a:cubicBezTo>
                  <a:pt x="99917" y="236846"/>
                  <a:pt x="114263" y="250469"/>
                  <a:pt x="130509" y="261923"/>
                </a:cubicBezTo>
                <a:cubicBezTo>
                  <a:pt x="142144" y="270121"/>
                  <a:pt x="154079" y="277898"/>
                  <a:pt x="166196" y="285372"/>
                </a:cubicBezTo>
                <a:cubicBezTo>
                  <a:pt x="182924" y="295711"/>
                  <a:pt x="200978" y="303336"/>
                  <a:pt x="219515" y="309726"/>
                </a:cubicBezTo>
                <a:cubicBezTo>
                  <a:pt x="240764" y="317020"/>
                  <a:pt x="262496" y="322415"/>
                  <a:pt x="284890" y="324766"/>
                </a:cubicBezTo>
                <a:cubicBezTo>
                  <a:pt x="285011" y="324766"/>
                  <a:pt x="285131" y="324766"/>
                  <a:pt x="285252" y="324796"/>
                </a:cubicBezTo>
                <a:lnTo>
                  <a:pt x="323531" y="324796"/>
                </a:lnTo>
                <a:lnTo>
                  <a:pt x="323531" y="320818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FF676D16-4C67-442A-B4BC-A58BAD0E7CB4}"/>
              </a:ext>
            </a:extLst>
          </p:cNvPr>
          <p:cNvSpPr/>
          <p:nvPr userDrawn="1"/>
        </p:nvSpPr>
        <p:spPr>
          <a:xfrm rot="2700000">
            <a:off x="10561131" y="4573338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148B06A-0194-4C1A-B8A6-2ADCB2FC8663}"/>
              </a:ext>
            </a:extLst>
          </p:cNvPr>
          <p:cNvGrpSpPr/>
          <p:nvPr userDrawn="1"/>
        </p:nvGrpSpPr>
        <p:grpSpPr>
          <a:xfrm>
            <a:off x="551942" y="657151"/>
            <a:ext cx="426764" cy="426924"/>
            <a:chOff x="551942" y="657151"/>
            <a:chExt cx="426764" cy="426924"/>
          </a:xfrm>
          <a:solidFill>
            <a:schemeClr val="bg1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EF878F6-1D2A-40EF-8528-BF6C6DBB86D5}"/>
                </a:ext>
              </a:extLst>
            </p:cNvPr>
            <p:cNvSpPr/>
            <p:nvPr/>
          </p:nvSpPr>
          <p:spPr>
            <a:xfrm>
              <a:off x="551982" y="657151"/>
              <a:ext cx="426724" cy="426923"/>
            </a:xfrm>
            <a:custGeom>
              <a:avLst/>
              <a:gdLst>
                <a:gd name="connsiteX0" fmla="*/ 426685 w 426724"/>
                <a:gd name="connsiteY0" fmla="*/ 56997 h 426923"/>
                <a:gd name="connsiteX1" fmla="*/ 423470 w 426724"/>
                <a:gd name="connsiteY1" fmla="*/ 59855 h 426923"/>
                <a:gd name="connsiteX2" fmla="*/ 59458 w 426724"/>
                <a:gd name="connsiteY2" fmla="*/ 423946 h 426923"/>
                <a:gd name="connsiteX3" fmla="*/ 52274 w 426724"/>
                <a:gd name="connsiteY3" fmla="*/ 426923 h 426923"/>
                <a:gd name="connsiteX4" fmla="*/ 4406 w 426724"/>
                <a:gd name="connsiteY4" fmla="*/ 426843 h 426923"/>
                <a:gd name="connsiteX5" fmla="*/ 0 w 426724"/>
                <a:gd name="connsiteY5" fmla="*/ 426843 h 426923"/>
                <a:gd name="connsiteX6" fmla="*/ 0 w 426724"/>
                <a:gd name="connsiteY6" fmla="*/ 422120 h 426923"/>
                <a:gd name="connsiteX7" fmla="*/ 1310 w 426724"/>
                <a:gd name="connsiteY7" fmla="*/ 420453 h 426923"/>
                <a:gd name="connsiteX8" fmla="*/ 4247 w 426724"/>
                <a:gd name="connsiteY8" fmla="*/ 417278 h 426923"/>
                <a:gd name="connsiteX9" fmla="*/ 418310 w 426724"/>
                <a:gd name="connsiteY9" fmla="*/ 3215 h 426923"/>
                <a:gd name="connsiteX10" fmla="*/ 421167 w 426724"/>
                <a:gd name="connsiteY10" fmla="*/ 0 h 426923"/>
                <a:gd name="connsiteX11" fmla="*/ 426724 w 426724"/>
                <a:gd name="connsiteY11" fmla="*/ 0 h 426923"/>
                <a:gd name="connsiteX12" fmla="*/ 426724 w 426724"/>
                <a:gd name="connsiteY12" fmla="*/ 57037 h 4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724" h="426923">
                  <a:moveTo>
                    <a:pt x="426685" y="56997"/>
                  </a:moveTo>
                  <a:cubicBezTo>
                    <a:pt x="425613" y="57950"/>
                    <a:pt x="424501" y="58823"/>
                    <a:pt x="423470" y="59855"/>
                  </a:cubicBezTo>
                  <a:cubicBezTo>
                    <a:pt x="302093" y="181192"/>
                    <a:pt x="180755" y="302529"/>
                    <a:pt x="59458" y="423946"/>
                  </a:cubicBezTo>
                  <a:cubicBezTo>
                    <a:pt x="57315" y="426089"/>
                    <a:pt x="55251" y="426962"/>
                    <a:pt x="52274" y="426923"/>
                  </a:cubicBezTo>
                  <a:cubicBezTo>
                    <a:pt x="36318" y="426804"/>
                    <a:pt x="20362" y="426843"/>
                    <a:pt x="4406" y="426843"/>
                  </a:cubicBezTo>
                  <a:lnTo>
                    <a:pt x="0" y="426843"/>
                  </a:lnTo>
                  <a:cubicBezTo>
                    <a:pt x="0" y="424978"/>
                    <a:pt x="0" y="423549"/>
                    <a:pt x="0" y="422120"/>
                  </a:cubicBezTo>
                  <a:cubicBezTo>
                    <a:pt x="437" y="421564"/>
                    <a:pt x="873" y="421009"/>
                    <a:pt x="1310" y="420453"/>
                  </a:cubicBezTo>
                  <a:cubicBezTo>
                    <a:pt x="2302" y="419381"/>
                    <a:pt x="3215" y="418310"/>
                    <a:pt x="4247" y="417278"/>
                  </a:cubicBezTo>
                  <a:cubicBezTo>
                    <a:pt x="142255" y="279270"/>
                    <a:pt x="280302" y="141223"/>
                    <a:pt x="418310" y="3215"/>
                  </a:cubicBezTo>
                  <a:cubicBezTo>
                    <a:pt x="419302" y="2223"/>
                    <a:pt x="420215" y="1072"/>
                    <a:pt x="421167" y="0"/>
                  </a:cubicBezTo>
                  <a:cubicBezTo>
                    <a:pt x="423033" y="0"/>
                    <a:pt x="424859" y="0"/>
                    <a:pt x="426724" y="0"/>
                  </a:cubicBezTo>
                  <a:lnTo>
                    <a:pt x="426724" y="57037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0826E03-42DD-484B-94D8-1F7FA46D26C2}"/>
                </a:ext>
              </a:extLst>
            </p:cNvPr>
            <p:cNvSpPr/>
            <p:nvPr/>
          </p:nvSpPr>
          <p:spPr>
            <a:xfrm>
              <a:off x="551982" y="657151"/>
              <a:ext cx="361749" cy="361153"/>
            </a:xfrm>
            <a:custGeom>
              <a:avLst/>
              <a:gdLst>
                <a:gd name="connsiteX0" fmla="*/ 361749 w 361749"/>
                <a:gd name="connsiteY0" fmla="*/ 0 h 361153"/>
                <a:gd name="connsiteX1" fmla="*/ 359209 w 361749"/>
                <a:gd name="connsiteY1" fmla="*/ 2937 h 361153"/>
                <a:gd name="connsiteX2" fmla="*/ 3890 w 361749"/>
                <a:gd name="connsiteY2" fmla="*/ 358256 h 361153"/>
                <a:gd name="connsiteX3" fmla="*/ 675 w 361749"/>
                <a:gd name="connsiteY3" fmla="*/ 361154 h 361153"/>
                <a:gd name="connsiteX4" fmla="*/ 0 w 361749"/>
                <a:gd name="connsiteY4" fmla="*/ 361114 h 361153"/>
                <a:gd name="connsiteX5" fmla="*/ 0 w 361749"/>
                <a:gd name="connsiteY5" fmla="*/ 300981 h 361153"/>
                <a:gd name="connsiteX6" fmla="*/ 1429 w 361749"/>
                <a:gd name="connsiteY6" fmla="*/ 299473 h 361153"/>
                <a:gd name="connsiteX7" fmla="*/ 3771 w 361749"/>
                <a:gd name="connsiteY7" fmla="*/ 297409 h 361153"/>
                <a:gd name="connsiteX8" fmla="*/ 298481 w 361749"/>
                <a:gd name="connsiteY8" fmla="*/ 2699 h 361153"/>
                <a:gd name="connsiteX9" fmla="*/ 300743 w 361749"/>
                <a:gd name="connsiteY9" fmla="*/ 40 h 361153"/>
                <a:gd name="connsiteX10" fmla="*/ 361709 w 361749"/>
                <a:gd name="connsiteY10" fmla="*/ 40 h 3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749" h="361153">
                  <a:moveTo>
                    <a:pt x="361749" y="0"/>
                  </a:moveTo>
                  <a:cubicBezTo>
                    <a:pt x="360916" y="992"/>
                    <a:pt x="360122" y="2024"/>
                    <a:pt x="359209" y="2937"/>
                  </a:cubicBezTo>
                  <a:cubicBezTo>
                    <a:pt x="240769" y="121377"/>
                    <a:pt x="122329" y="239817"/>
                    <a:pt x="3890" y="358256"/>
                  </a:cubicBezTo>
                  <a:cubicBezTo>
                    <a:pt x="2858" y="359288"/>
                    <a:pt x="1746" y="360201"/>
                    <a:pt x="675" y="361154"/>
                  </a:cubicBezTo>
                  <a:cubicBezTo>
                    <a:pt x="437" y="361154"/>
                    <a:pt x="238" y="361154"/>
                    <a:pt x="0" y="361114"/>
                  </a:cubicBezTo>
                  <a:cubicBezTo>
                    <a:pt x="0" y="341070"/>
                    <a:pt x="0" y="321026"/>
                    <a:pt x="0" y="300981"/>
                  </a:cubicBezTo>
                  <a:cubicBezTo>
                    <a:pt x="476" y="300465"/>
                    <a:pt x="953" y="299989"/>
                    <a:pt x="1429" y="299473"/>
                  </a:cubicBezTo>
                  <a:cubicBezTo>
                    <a:pt x="2223" y="298798"/>
                    <a:pt x="3056" y="298124"/>
                    <a:pt x="3771" y="297409"/>
                  </a:cubicBezTo>
                  <a:cubicBezTo>
                    <a:pt x="102007" y="199172"/>
                    <a:pt x="200244" y="100936"/>
                    <a:pt x="298481" y="2699"/>
                  </a:cubicBezTo>
                  <a:cubicBezTo>
                    <a:pt x="299314" y="1866"/>
                    <a:pt x="299989" y="913"/>
                    <a:pt x="300743" y="40"/>
                  </a:cubicBezTo>
                  <a:cubicBezTo>
                    <a:pt x="321065" y="40"/>
                    <a:pt x="341387" y="40"/>
                    <a:pt x="361709" y="4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79E59275-2659-421F-BA6B-5A055EA733B1}"/>
                </a:ext>
              </a:extLst>
            </p:cNvPr>
            <p:cNvSpPr/>
            <p:nvPr/>
          </p:nvSpPr>
          <p:spPr>
            <a:xfrm>
              <a:off x="668198" y="773567"/>
              <a:ext cx="310467" cy="310508"/>
            </a:xfrm>
            <a:custGeom>
              <a:avLst/>
              <a:gdLst>
                <a:gd name="connsiteX0" fmla="*/ 310468 w 310467"/>
                <a:gd name="connsiteY0" fmla="*/ 61760 h 310508"/>
                <a:gd name="connsiteX1" fmla="*/ 307253 w 310467"/>
                <a:gd name="connsiteY1" fmla="*/ 64618 h 310508"/>
                <a:gd name="connsiteX2" fmla="*/ 64658 w 310467"/>
                <a:gd name="connsiteY2" fmla="*/ 307332 h 310508"/>
                <a:gd name="connsiteX3" fmla="*/ 56759 w 310467"/>
                <a:gd name="connsiteY3" fmla="*/ 310507 h 310508"/>
                <a:gd name="connsiteX4" fmla="*/ 0 w 310467"/>
                <a:gd name="connsiteY4" fmla="*/ 310428 h 310508"/>
                <a:gd name="connsiteX5" fmla="*/ 2461 w 310467"/>
                <a:gd name="connsiteY5" fmla="*/ 307610 h 310508"/>
                <a:gd name="connsiteX6" fmla="*/ 308086 w 310467"/>
                <a:gd name="connsiteY6" fmla="*/ 1985 h 310508"/>
                <a:gd name="connsiteX7" fmla="*/ 310468 w 310467"/>
                <a:gd name="connsiteY7" fmla="*/ 0 h 310508"/>
                <a:gd name="connsiteX8" fmla="*/ 310468 w 310467"/>
                <a:gd name="connsiteY8" fmla="*/ 61760 h 3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467" h="310508">
                  <a:moveTo>
                    <a:pt x="310468" y="61760"/>
                  </a:moveTo>
                  <a:cubicBezTo>
                    <a:pt x="309396" y="62713"/>
                    <a:pt x="308285" y="63586"/>
                    <a:pt x="307253" y="64618"/>
                  </a:cubicBezTo>
                  <a:cubicBezTo>
                    <a:pt x="226361" y="145509"/>
                    <a:pt x="145470" y="226361"/>
                    <a:pt x="64658" y="307332"/>
                  </a:cubicBezTo>
                  <a:cubicBezTo>
                    <a:pt x="62276" y="309713"/>
                    <a:pt x="59974" y="310547"/>
                    <a:pt x="56759" y="310507"/>
                  </a:cubicBezTo>
                  <a:cubicBezTo>
                    <a:pt x="38025" y="310388"/>
                    <a:pt x="19330" y="310428"/>
                    <a:pt x="0" y="310428"/>
                  </a:cubicBezTo>
                  <a:cubicBezTo>
                    <a:pt x="1032" y="309237"/>
                    <a:pt x="1707" y="308364"/>
                    <a:pt x="2461" y="307610"/>
                  </a:cubicBezTo>
                  <a:cubicBezTo>
                    <a:pt x="104349" y="205721"/>
                    <a:pt x="206198" y="103873"/>
                    <a:pt x="308086" y="1985"/>
                  </a:cubicBezTo>
                  <a:cubicBezTo>
                    <a:pt x="308801" y="1270"/>
                    <a:pt x="309674" y="635"/>
                    <a:pt x="310468" y="0"/>
                  </a:cubicBezTo>
                  <a:lnTo>
                    <a:pt x="310468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44AEAF9-6F54-4F4C-8FD8-FE786085F95E}"/>
                </a:ext>
              </a:extLst>
            </p:cNvPr>
            <p:cNvSpPr/>
            <p:nvPr/>
          </p:nvSpPr>
          <p:spPr>
            <a:xfrm>
              <a:off x="551942" y="657151"/>
              <a:ext cx="241404" cy="240054"/>
            </a:xfrm>
            <a:custGeom>
              <a:avLst/>
              <a:gdLst>
                <a:gd name="connsiteX0" fmla="*/ 241404 w 241404"/>
                <a:gd name="connsiteY0" fmla="*/ 0 h 240054"/>
                <a:gd name="connsiteX1" fmla="*/ 239420 w 241404"/>
                <a:gd name="connsiteY1" fmla="*/ 2382 h 240054"/>
                <a:gd name="connsiteX2" fmla="*/ 3572 w 241404"/>
                <a:gd name="connsiteY2" fmla="*/ 238229 h 240054"/>
                <a:gd name="connsiteX3" fmla="*/ 1508 w 241404"/>
                <a:gd name="connsiteY3" fmla="*/ 240055 h 240054"/>
                <a:gd name="connsiteX4" fmla="*/ 0 w 241404"/>
                <a:gd name="connsiteY4" fmla="*/ 239181 h 240054"/>
                <a:gd name="connsiteX5" fmla="*/ 0 w 241404"/>
                <a:gd name="connsiteY5" fmla="*/ 181351 h 240054"/>
                <a:gd name="connsiteX6" fmla="*/ 595 w 241404"/>
                <a:gd name="connsiteY6" fmla="*/ 179724 h 240054"/>
                <a:gd name="connsiteX7" fmla="*/ 1469 w 241404"/>
                <a:gd name="connsiteY7" fmla="*/ 178295 h 240054"/>
                <a:gd name="connsiteX8" fmla="*/ 3533 w 241404"/>
                <a:gd name="connsiteY8" fmla="*/ 176509 h 240054"/>
                <a:gd name="connsiteX9" fmla="*/ 177620 w 241404"/>
                <a:gd name="connsiteY9" fmla="*/ 2382 h 240054"/>
                <a:gd name="connsiteX10" fmla="*/ 179604 w 241404"/>
                <a:gd name="connsiteY10" fmla="*/ 0 h 240054"/>
                <a:gd name="connsiteX11" fmla="*/ 241365 w 241404"/>
                <a:gd name="connsiteY11" fmla="*/ 0 h 24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404" h="240054">
                  <a:moveTo>
                    <a:pt x="241404" y="0"/>
                  </a:moveTo>
                  <a:cubicBezTo>
                    <a:pt x="240729" y="794"/>
                    <a:pt x="240134" y="1667"/>
                    <a:pt x="239420" y="2382"/>
                  </a:cubicBezTo>
                  <a:cubicBezTo>
                    <a:pt x="160830" y="81011"/>
                    <a:pt x="82201" y="159640"/>
                    <a:pt x="3572" y="238229"/>
                  </a:cubicBezTo>
                  <a:cubicBezTo>
                    <a:pt x="2937" y="238864"/>
                    <a:pt x="2183" y="239420"/>
                    <a:pt x="1508" y="240055"/>
                  </a:cubicBezTo>
                  <a:cubicBezTo>
                    <a:pt x="992" y="239777"/>
                    <a:pt x="516" y="239459"/>
                    <a:pt x="0" y="239181"/>
                  </a:cubicBezTo>
                  <a:cubicBezTo>
                    <a:pt x="0" y="219891"/>
                    <a:pt x="0" y="200641"/>
                    <a:pt x="0" y="181351"/>
                  </a:cubicBezTo>
                  <a:cubicBezTo>
                    <a:pt x="198" y="180795"/>
                    <a:pt x="397" y="180279"/>
                    <a:pt x="595" y="179724"/>
                  </a:cubicBezTo>
                  <a:cubicBezTo>
                    <a:pt x="873" y="179247"/>
                    <a:pt x="1151" y="178771"/>
                    <a:pt x="1469" y="178295"/>
                  </a:cubicBezTo>
                  <a:cubicBezTo>
                    <a:pt x="2143" y="177699"/>
                    <a:pt x="2897" y="177144"/>
                    <a:pt x="3533" y="176509"/>
                  </a:cubicBezTo>
                  <a:cubicBezTo>
                    <a:pt x="61562" y="118479"/>
                    <a:pt x="119591" y="60450"/>
                    <a:pt x="177620" y="2382"/>
                  </a:cubicBezTo>
                  <a:cubicBezTo>
                    <a:pt x="178334" y="1667"/>
                    <a:pt x="178969" y="794"/>
                    <a:pt x="179604" y="0"/>
                  </a:cubicBezTo>
                  <a:cubicBezTo>
                    <a:pt x="200204" y="0"/>
                    <a:pt x="220804" y="0"/>
                    <a:pt x="241365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7088902-E530-4155-9D13-2033FF5950B9}"/>
                </a:ext>
              </a:extLst>
            </p:cNvPr>
            <p:cNvSpPr/>
            <p:nvPr/>
          </p:nvSpPr>
          <p:spPr>
            <a:xfrm>
              <a:off x="789377" y="894745"/>
              <a:ext cx="189289" cy="189290"/>
            </a:xfrm>
            <a:custGeom>
              <a:avLst/>
              <a:gdLst>
                <a:gd name="connsiteX0" fmla="*/ 189289 w 189289"/>
                <a:gd name="connsiteY0" fmla="*/ 61760 h 189290"/>
                <a:gd name="connsiteX1" fmla="*/ 186074 w 189289"/>
                <a:gd name="connsiteY1" fmla="*/ 64618 h 189290"/>
                <a:gd name="connsiteX2" fmla="*/ 64380 w 189289"/>
                <a:gd name="connsiteY2" fmla="*/ 186392 h 189290"/>
                <a:gd name="connsiteX3" fmla="*/ 57156 w 189289"/>
                <a:gd name="connsiteY3" fmla="*/ 189289 h 189290"/>
                <a:gd name="connsiteX4" fmla="*/ 0 w 189289"/>
                <a:gd name="connsiteY4" fmla="*/ 189249 h 189290"/>
                <a:gd name="connsiteX5" fmla="*/ 1905 w 189289"/>
                <a:gd name="connsiteY5" fmla="*/ 186987 h 189290"/>
                <a:gd name="connsiteX6" fmla="*/ 187463 w 189289"/>
                <a:gd name="connsiteY6" fmla="*/ 1429 h 189290"/>
                <a:gd name="connsiteX7" fmla="*/ 189289 w 189289"/>
                <a:gd name="connsiteY7" fmla="*/ 0 h 189290"/>
                <a:gd name="connsiteX8" fmla="*/ 189289 w 189289"/>
                <a:gd name="connsiteY8" fmla="*/ 61760 h 18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289" h="189290">
                  <a:moveTo>
                    <a:pt x="189289" y="61760"/>
                  </a:moveTo>
                  <a:cubicBezTo>
                    <a:pt x="188217" y="62713"/>
                    <a:pt x="187106" y="63586"/>
                    <a:pt x="186074" y="64618"/>
                  </a:cubicBezTo>
                  <a:cubicBezTo>
                    <a:pt x="145470" y="105183"/>
                    <a:pt x="104865" y="145748"/>
                    <a:pt x="64380" y="186392"/>
                  </a:cubicBezTo>
                  <a:cubicBezTo>
                    <a:pt x="62236" y="188535"/>
                    <a:pt x="60133" y="189329"/>
                    <a:pt x="57156" y="189289"/>
                  </a:cubicBezTo>
                  <a:cubicBezTo>
                    <a:pt x="38302" y="189170"/>
                    <a:pt x="19449" y="189249"/>
                    <a:pt x="0" y="189249"/>
                  </a:cubicBezTo>
                  <a:cubicBezTo>
                    <a:pt x="834" y="188257"/>
                    <a:pt x="1310" y="187543"/>
                    <a:pt x="1905" y="186987"/>
                  </a:cubicBezTo>
                  <a:cubicBezTo>
                    <a:pt x="63745" y="125108"/>
                    <a:pt x="125624" y="63268"/>
                    <a:pt x="187463" y="1429"/>
                  </a:cubicBezTo>
                  <a:cubicBezTo>
                    <a:pt x="188019" y="873"/>
                    <a:pt x="188694" y="476"/>
                    <a:pt x="189289" y="0"/>
                  </a:cubicBezTo>
                  <a:lnTo>
                    <a:pt x="189289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F258EF71-56ED-4466-9D6D-2947D71C17EF}"/>
                </a:ext>
              </a:extLst>
            </p:cNvPr>
            <p:cNvSpPr/>
            <p:nvPr/>
          </p:nvSpPr>
          <p:spPr>
            <a:xfrm>
              <a:off x="552022" y="657151"/>
              <a:ext cx="120225" cy="118876"/>
            </a:xfrm>
            <a:custGeom>
              <a:avLst/>
              <a:gdLst>
                <a:gd name="connsiteX0" fmla="*/ 120186 w 120225"/>
                <a:gd name="connsiteY0" fmla="*/ 0 h 118876"/>
                <a:gd name="connsiteX1" fmla="*/ 118479 w 120225"/>
                <a:gd name="connsiteY1" fmla="*/ 2104 h 118876"/>
                <a:gd name="connsiteX2" fmla="*/ 2977 w 120225"/>
                <a:gd name="connsiteY2" fmla="*/ 117606 h 118876"/>
                <a:gd name="connsiteX3" fmla="*/ 1508 w 120225"/>
                <a:gd name="connsiteY3" fmla="*/ 118876 h 118876"/>
                <a:gd name="connsiteX4" fmla="*/ 0 w 120225"/>
                <a:gd name="connsiteY4" fmla="*/ 118003 h 118876"/>
                <a:gd name="connsiteX5" fmla="*/ 0 w 120225"/>
                <a:gd name="connsiteY5" fmla="*/ 59379 h 118876"/>
                <a:gd name="connsiteX6" fmla="*/ 1270 w 120225"/>
                <a:gd name="connsiteY6" fmla="*/ 57791 h 118876"/>
                <a:gd name="connsiteX7" fmla="*/ 52829 w 120225"/>
                <a:gd name="connsiteY7" fmla="*/ 5993 h 118876"/>
                <a:gd name="connsiteX8" fmla="*/ 58466 w 120225"/>
                <a:gd name="connsiteY8" fmla="*/ 0 h 118876"/>
                <a:gd name="connsiteX9" fmla="*/ 120226 w 120225"/>
                <a:gd name="connsiteY9" fmla="*/ 0 h 11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25" h="118876">
                  <a:moveTo>
                    <a:pt x="120186" y="0"/>
                  </a:moveTo>
                  <a:cubicBezTo>
                    <a:pt x="119630" y="714"/>
                    <a:pt x="119114" y="1469"/>
                    <a:pt x="118479" y="2104"/>
                  </a:cubicBezTo>
                  <a:cubicBezTo>
                    <a:pt x="79979" y="40605"/>
                    <a:pt x="41478" y="79105"/>
                    <a:pt x="2977" y="117606"/>
                  </a:cubicBezTo>
                  <a:cubicBezTo>
                    <a:pt x="2501" y="118082"/>
                    <a:pt x="1985" y="118440"/>
                    <a:pt x="1508" y="118876"/>
                  </a:cubicBezTo>
                  <a:cubicBezTo>
                    <a:pt x="992" y="118598"/>
                    <a:pt x="516" y="118281"/>
                    <a:pt x="0" y="118003"/>
                  </a:cubicBezTo>
                  <a:cubicBezTo>
                    <a:pt x="0" y="98475"/>
                    <a:pt x="0" y="78907"/>
                    <a:pt x="0" y="59379"/>
                  </a:cubicBezTo>
                  <a:cubicBezTo>
                    <a:pt x="437" y="58863"/>
                    <a:pt x="834" y="58307"/>
                    <a:pt x="1270" y="57791"/>
                  </a:cubicBezTo>
                  <a:cubicBezTo>
                    <a:pt x="18457" y="40525"/>
                    <a:pt x="35643" y="23259"/>
                    <a:pt x="52829" y="5993"/>
                  </a:cubicBezTo>
                  <a:cubicBezTo>
                    <a:pt x="54774" y="4049"/>
                    <a:pt x="56600" y="1985"/>
                    <a:pt x="58466" y="0"/>
                  </a:cubicBezTo>
                  <a:cubicBezTo>
                    <a:pt x="79066" y="0"/>
                    <a:pt x="99666" y="0"/>
                    <a:pt x="12022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04BDF2D-30D3-4DDF-B0DB-A08200CE33EB}"/>
                </a:ext>
              </a:extLst>
            </p:cNvPr>
            <p:cNvSpPr/>
            <p:nvPr/>
          </p:nvSpPr>
          <p:spPr>
            <a:xfrm>
              <a:off x="910396" y="1015884"/>
              <a:ext cx="68269" cy="68110"/>
            </a:xfrm>
            <a:custGeom>
              <a:avLst/>
              <a:gdLst>
                <a:gd name="connsiteX0" fmla="*/ 68270 w 68269"/>
                <a:gd name="connsiteY0" fmla="*/ 68111 h 68110"/>
                <a:gd name="connsiteX1" fmla="*/ 0 w 68269"/>
                <a:gd name="connsiteY1" fmla="*/ 68111 h 68110"/>
                <a:gd name="connsiteX2" fmla="*/ 1826 w 68269"/>
                <a:gd name="connsiteY2" fmla="*/ 66047 h 68110"/>
                <a:gd name="connsiteX3" fmla="*/ 66444 w 68269"/>
                <a:gd name="connsiteY3" fmla="*/ 1429 h 68110"/>
                <a:gd name="connsiteX4" fmla="*/ 68270 w 68269"/>
                <a:gd name="connsiteY4" fmla="*/ 0 h 68110"/>
                <a:gd name="connsiteX5" fmla="*/ 68270 w 68269"/>
                <a:gd name="connsiteY5" fmla="*/ 68111 h 6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9" h="68110">
                  <a:moveTo>
                    <a:pt x="68270" y="68111"/>
                  </a:moveTo>
                  <a:lnTo>
                    <a:pt x="0" y="68111"/>
                  </a:lnTo>
                  <a:cubicBezTo>
                    <a:pt x="873" y="67118"/>
                    <a:pt x="1310" y="66563"/>
                    <a:pt x="1826" y="66047"/>
                  </a:cubicBezTo>
                  <a:cubicBezTo>
                    <a:pt x="23378" y="44494"/>
                    <a:pt x="44891" y="22942"/>
                    <a:pt x="66444" y="1429"/>
                  </a:cubicBezTo>
                  <a:cubicBezTo>
                    <a:pt x="66999" y="873"/>
                    <a:pt x="67634" y="476"/>
                    <a:pt x="68270" y="0"/>
                  </a:cubicBezTo>
                  <a:lnTo>
                    <a:pt x="68270" y="6811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DF46B225-9034-424B-8011-510FD15B5235}"/>
              </a:ext>
            </a:extLst>
          </p:cNvPr>
          <p:cNvSpPr/>
          <p:nvPr userDrawn="1"/>
        </p:nvSpPr>
        <p:spPr>
          <a:xfrm>
            <a:off x="553013" y="5771266"/>
            <a:ext cx="424620" cy="424620"/>
          </a:xfrm>
          <a:custGeom>
            <a:avLst/>
            <a:gdLst>
              <a:gd name="connsiteX0" fmla="*/ 424621 w 424620"/>
              <a:gd name="connsiteY0" fmla="*/ 0 h 424620"/>
              <a:gd name="connsiteX1" fmla="*/ 0 w 424620"/>
              <a:gd name="connsiteY1" fmla="*/ 0 h 424620"/>
              <a:gd name="connsiteX2" fmla="*/ 0 w 424620"/>
              <a:gd name="connsiteY2" fmla="*/ 424621 h 424620"/>
              <a:gd name="connsiteX3" fmla="*/ 424621 w 424620"/>
              <a:gd name="connsiteY3" fmla="*/ 424621 h 424620"/>
              <a:gd name="connsiteX4" fmla="*/ 424621 w 424620"/>
              <a:gd name="connsiteY4" fmla="*/ 0 h 424620"/>
              <a:gd name="connsiteX5" fmla="*/ 315111 w 424620"/>
              <a:gd name="connsiteY5" fmla="*/ 219614 h 424620"/>
              <a:gd name="connsiteX6" fmla="*/ 257717 w 424620"/>
              <a:gd name="connsiteY6" fmla="*/ 276333 h 424620"/>
              <a:gd name="connsiteX7" fmla="*/ 215684 w 424620"/>
              <a:gd name="connsiteY7" fmla="*/ 318446 h 424620"/>
              <a:gd name="connsiteX8" fmla="*/ 208976 w 424620"/>
              <a:gd name="connsiteY8" fmla="*/ 318604 h 424620"/>
              <a:gd name="connsiteX9" fmla="*/ 183455 w 424620"/>
              <a:gd name="connsiteY9" fmla="*/ 293003 h 424620"/>
              <a:gd name="connsiteX10" fmla="*/ 165038 w 424620"/>
              <a:gd name="connsiteY10" fmla="*/ 275182 h 424620"/>
              <a:gd name="connsiteX11" fmla="*/ 147137 w 424620"/>
              <a:gd name="connsiteY11" fmla="*/ 256844 h 424620"/>
              <a:gd name="connsiteX12" fmla="*/ 128879 w 424620"/>
              <a:gd name="connsiteY12" fmla="*/ 238864 h 424620"/>
              <a:gd name="connsiteX13" fmla="*/ 108715 w 424620"/>
              <a:gd name="connsiteY13" fmla="*/ 218224 h 424620"/>
              <a:gd name="connsiteX14" fmla="*/ 109827 w 424620"/>
              <a:gd name="connsiteY14" fmla="*/ 212509 h 424620"/>
              <a:gd name="connsiteX15" fmla="*/ 156266 w 424620"/>
              <a:gd name="connsiteY15" fmla="*/ 166347 h 424620"/>
              <a:gd name="connsiteX16" fmla="*/ 208738 w 424620"/>
              <a:gd name="connsiteY16" fmla="*/ 113796 h 424620"/>
              <a:gd name="connsiteX17" fmla="*/ 215763 w 424620"/>
              <a:gd name="connsiteY17" fmla="*/ 113677 h 424620"/>
              <a:gd name="connsiteX18" fmla="*/ 237435 w 424620"/>
              <a:gd name="connsiteY18" fmla="*/ 135388 h 424620"/>
              <a:gd name="connsiteX19" fmla="*/ 255852 w 424620"/>
              <a:gd name="connsiteY19" fmla="*/ 153210 h 424620"/>
              <a:gd name="connsiteX20" fmla="*/ 273753 w 424620"/>
              <a:gd name="connsiteY20" fmla="*/ 171547 h 424620"/>
              <a:gd name="connsiteX21" fmla="*/ 292011 w 424620"/>
              <a:gd name="connsiteY21" fmla="*/ 189527 h 424620"/>
              <a:gd name="connsiteX22" fmla="*/ 309872 w 424620"/>
              <a:gd name="connsiteY22" fmla="*/ 207309 h 424620"/>
              <a:gd name="connsiteX23" fmla="*/ 314754 w 424620"/>
              <a:gd name="connsiteY23" fmla="*/ 212112 h 424620"/>
              <a:gd name="connsiteX24" fmla="*/ 317850 w 424620"/>
              <a:gd name="connsiteY24" fmla="*/ 215644 h 424620"/>
              <a:gd name="connsiteX25" fmla="*/ 315151 w 424620"/>
              <a:gd name="connsiteY25" fmla="*/ 219693 h 424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4620" h="424620">
                <a:moveTo>
                  <a:pt x="424621" y="0"/>
                </a:moveTo>
                <a:lnTo>
                  <a:pt x="0" y="0"/>
                </a:lnTo>
                <a:lnTo>
                  <a:pt x="0" y="424621"/>
                </a:lnTo>
                <a:lnTo>
                  <a:pt x="424621" y="424621"/>
                </a:lnTo>
                <a:cubicBezTo>
                  <a:pt x="424621" y="356669"/>
                  <a:pt x="424621" y="68944"/>
                  <a:pt x="424621" y="0"/>
                </a:cubicBezTo>
                <a:close/>
                <a:moveTo>
                  <a:pt x="315111" y="219614"/>
                </a:moveTo>
                <a:cubicBezTo>
                  <a:pt x="296020" y="238546"/>
                  <a:pt x="276809" y="257400"/>
                  <a:pt x="257717" y="276333"/>
                </a:cubicBezTo>
                <a:cubicBezTo>
                  <a:pt x="243627" y="290304"/>
                  <a:pt x="229616" y="304315"/>
                  <a:pt x="215684" y="318446"/>
                </a:cubicBezTo>
                <a:cubicBezTo>
                  <a:pt x="213184" y="320986"/>
                  <a:pt x="211556" y="321264"/>
                  <a:pt x="208976" y="318604"/>
                </a:cubicBezTo>
                <a:cubicBezTo>
                  <a:pt x="200601" y="309952"/>
                  <a:pt x="192028" y="301458"/>
                  <a:pt x="183455" y="293003"/>
                </a:cubicBezTo>
                <a:cubicBezTo>
                  <a:pt x="177382" y="287010"/>
                  <a:pt x="171071" y="281215"/>
                  <a:pt x="165038" y="275182"/>
                </a:cubicBezTo>
                <a:cubicBezTo>
                  <a:pt x="159004" y="269149"/>
                  <a:pt x="153170" y="262877"/>
                  <a:pt x="147137" y="256844"/>
                </a:cubicBezTo>
                <a:cubicBezTo>
                  <a:pt x="141104" y="250771"/>
                  <a:pt x="134912" y="244937"/>
                  <a:pt x="128879" y="238864"/>
                </a:cubicBezTo>
                <a:cubicBezTo>
                  <a:pt x="122091" y="232037"/>
                  <a:pt x="115503" y="225051"/>
                  <a:pt x="108715" y="218224"/>
                </a:cubicBezTo>
                <a:cubicBezTo>
                  <a:pt x="106175" y="215644"/>
                  <a:pt x="108239" y="214096"/>
                  <a:pt x="109827" y="212509"/>
                </a:cubicBezTo>
                <a:cubicBezTo>
                  <a:pt x="125306" y="197108"/>
                  <a:pt x="140826" y="181748"/>
                  <a:pt x="156266" y="166347"/>
                </a:cubicBezTo>
                <a:cubicBezTo>
                  <a:pt x="173809" y="148883"/>
                  <a:pt x="191313" y="131379"/>
                  <a:pt x="208738" y="113796"/>
                </a:cubicBezTo>
                <a:cubicBezTo>
                  <a:pt x="211358" y="111136"/>
                  <a:pt x="213064" y="110859"/>
                  <a:pt x="215763" y="113677"/>
                </a:cubicBezTo>
                <a:cubicBezTo>
                  <a:pt x="222829" y="121059"/>
                  <a:pt x="230132" y="128204"/>
                  <a:pt x="237435" y="135388"/>
                </a:cubicBezTo>
                <a:cubicBezTo>
                  <a:pt x="243508" y="141381"/>
                  <a:pt x="249819" y="147176"/>
                  <a:pt x="255852" y="153210"/>
                </a:cubicBezTo>
                <a:cubicBezTo>
                  <a:pt x="261885" y="159243"/>
                  <a:pt x="267720" y="165514"/>
                  <a:pt x="273753" y="171547"/>
                </a:cubicBezTo>
                <a:cubicBezTo>
                  <a:pt x="279786" y="177620"/>
                  <a:pt x="285938" y="183534"/>
                  <a:pt x="292011" y="189527"/>
                </a:cubicBezTo>
                <a:cubicBezTo>
                  <a:pt x="297965" y="195441"/>
                  <a:pt x="303918" y="201355"/>
                  <a:pt x="309872" y="207309"/>
                </a:cubicBezTo>
                <a:cubicBezTo>
                  <a:pt x="311500" y="208937"/>
                  <a:pt x="313167" y="210484"/>
                  <a:pt x="314754" y="212112"/>
                </a:cubicBezTo>
                <a:cubicBezTo>
                  <a:pt x="315786" y="213184"/>
                  <a:pt x="316699" y="214335"/>
                  <a:pt x="317850" y="215644"/>
                </a:cubicBezTo>
                <a:cubicBezTo>
                  <a:pt x="316818" y="217232"/>
                  <a:pt x="316183" y="218661"/>
                  <a:pt x="315151" y="219693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Freeform: Shape 135">
            <a:extLst>
              <a:ext uri="{FF2B5EF4-FFF2-40B4-BE49-F238E27FC236}">
                <a16:creationId xmlns:a16="http://schemas.microsoft.com/office/drawing/2014/main" id="{D2A5F220-1DC3-4E01-BE06-715A3799C11A}"/>
              </a:ext>
            </a:extLst>
          </p:cNvPr>
          <p:cNvSpPr/>
          <p:nvPr userDrawn="1"/>
        </p:nvSpPr>
        <p:spPr>
          <a:xfrm rot="2700000">
            <a:off x="653456" y="3314929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5B9F4708-64AA-4E4C-9EDE-C9F34DF88522}"/>
              </a:ext>
            </a:extLst>
          </p:cNvPr>
          <p:cNvSpPr/>
          <p:nvPr userDrawn="1"/>
        </p:nvSpPr>
        <p:spPr>
          <a:xfrm rot="2700000">
            <a:off x="11277666" y="718171"/>
            <a:ext cx="294630" cy="294630"/>
          </a:xfrm>
          <a:custGeom>
            <a:avLst/>
            <a:gdLst>
              <a:gd name="connsiteX0" fmla="*/ 0 w 294630"/>
              <a:gd name="connsiteY0" fmla="*/ 0 h 294630"/>
              <a:gd name="connsiteX1" fmla="*/ 294631 w 294630"/>
              <a:gd name="connsiteY1" fmla="*/ 0 h 294630"/>
              <a:gd name="connsiteX2" fmla="*/ 294631 w 294630"/>
              <a:gd name="connsiteY2" fmla="*/ 294631 h 294630"/>
              <a:gd name="connsiteX3" fmla="*/ 0 w 294630"/>
              <a:gd name="connsiteY3" fmla="*/ 294631 h 29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30" h="294630">
                <a:moveTo>
                  <a:pt x="0" y="0"/>
                </a:moveTo>
                <a:lnTo>
                  <a:pt x="294631" y="0"/>
                </a:lnTo>
                <a:lnTo>
                  <a:pt x="294631" y="294631"/>
                </a:lnTo>
                <a:lnTo>
                  <a:pt x="0" y="294631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1767D49C-3415-486E-9B3C-85139669691F}"/>
              </a:ext>
            </a:extLst>
          </p:cNvPr>
          <p:cNvSpPr/>
          <p:nvPr userDrawn="1"/>
        </p:nvSpPr>
        <p:spPr>
          <a:xfrm>
            <a:off x="11211937" y="5768170"/>
            <a:ext cx="426089" cy="427716"/>
          </a:xfrm>
          <a:custGeom>
            <a:avLst/>
            <a:gdLst>
              <a:gd name="connsiteX0" fmla="*/ 426089 w 426089"/>
              <a:gd name="connsiteY0" fmla="*/ 422517 h 427716"/>
              <a:gd name="connsiteX1" fmla="*/ 426049 w 426089"/>
              <a:gd name="connsiteY1" fmla="*/ 421842 h 427716"/>
              <a:gd name="connsiteX2" fmla="*/ 426049 w 426089"/>
              <a:gd name="connsiteY2" fmla="*/ 0 h 427716"/>
              <a:gd name="connsiteX3" fmla="*/ 0 w 426089"/>
              <a:gd name="connsiteY3" fmla="*/ 0 h 427716"/>
              <a:gd name="connsiteX4" fmla="*/ 0 w 426089"/>
              <a:gd name="connsiteY4" fmla="*/ 4088 h 427716"/>
              <a:gd name="connsiteX5" fmla="*/ 238 w 426089"/>
              <a:gd name="connsiteY5" fmla="*/ 5755 h 427716"/>
              <a:gd name="connsiteX6" fmla="*/ 5239 w 426089"/>
              <a:gd name="connsiteY6" fmla="*/ 66920 h 427716"/>
              <a:gd name="connsiteX7" fmla="*/ 16988 w 426089"/>
              <a:gd name="connsiteY7" fmla="*/ 120543 h 427716"/>
              <a:gd name="connsiteX8" fmla="*/ 39692 w 426089"/>
              <a:gd name="connsiteY8" fmla="*/ 182026 h 427716"/>
              <a:gd name="connsiteX9" fmla="*/ 57870 w 426089"/>
              <a:gd name="connsiteY9" fmla="*/ 216676 h 427716"/>
              <a:gd name="connsiteX10" fmla="*/ 113835 w 426089"/>
              <a:gd name="connsiteY10" fmla="*/ 292606 h 427716"/>
              <a:gd name="connsiteX11" fmla="*/ 171865 w 426089"/>
              <a:gd name="connsiteY11" fmla="*/ 344920 h 427716"/>
              <a:gd name="connsiteX12" fmla="*/ 218859 w 426089"/>
              <a:gd name="connsiteY12" fmla="*/ 375800 h 427716"/>
              <a:gd name="connsiteX13" fmla="*/ 289074 w 426089"/>
              <a:gd name="connsiteY13" fmla="*/ 407871 h 427716"/>
              <a:gd name="connsiteX14" fmla="*/ 375165 w 426089"/>
              <a:gd name="connsiteY14" fmla="*/ 427677 h 427716"/>
              <a:gd name="connsiteX15" fmla="*/ 375641 w 426089"/>
              <a:gd name="connsiteY15" fmla="*/ 427717 h 427716"/>
              <a:gd name="connsiteX16" fmla="*/ 426049 w 426089"/>
              <a:gd name="connsiteY16" fmla="*/ 427717 h 427716"/>
              <a:gd name="connsiteX17" fmla="*/ 426049 w 426089"/>
              <a:gd name="connsiteY17" fmla="*/ 422477 h 42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26089" h="427716">
                <a:moveTo>
                  <a:pt x="426089" y="422517"/>
                </a:moveTo>
                <a:cubicBezTo>
                  <a:pt x="426089" y="422279"/>
                  <a:pt x="426049" y="422080"/>
                  <a:pt x="426049" y="421842"/>
                </a:cubicBezTo>
                <a:cubicBezTo>
                  <a:pt x="426049" y="404894"/>
                  <a:pt x="426049" y="18536"/>
                  <a:pt x="426049" y="0"/>
                </a:cubicBezTo>
                <a:lnTo>
                  <a:pt x="0" y="0"/>
                </a:lnTo>
                <a:lnTo>
                  <a:pt x="0" y="4088"/>
                </a:lnTo>
                <a:cubicBezTo>
                  <a:pt x="119" y="4565"/>
                  <a:pt x="198" y="5120"/>
                  <a:pt x="238" y="5755"/>
                </a:cubicBezTo>
                <a:cubicBezTo>
                  <a:pt x="1707" y="26157"/>
                  <a:pt x="2342" y="46717"/>
                  <a:pt x="5239" y="66920"/>
                </a:cubicBezTo>
                <a:cubicBezTo>
                  <a:pt x="7819" y="84980"/>
                  <a:pt x="12543" y="102801"/>
                  <a:pt x="16988" y="120543"/>
                </a:cubicBezTo>
                <a:cubicBezTo>
                  <a:pt x="22346" y="141818"/>
                  <a:pt x="30523" y="162140"/>
                  <a:pt x="39692" y="182026"/>
                </a:cubicBezTo>
                <a:cubicBezTo>
                  <a:pt x="45129" y="193854"/>
                  <a:pt x="51480" y="205325"/>
                  <a:pt x="57870" y="216676"/>
                </a:cubicBezTo>
                <a:cubicBezTo>
                  <a:pt x="73429" y="244222"/>
                  <a:pt x="92362" y="269307"/>
                  <a:pt x="113835" y="292606"/>
                </a:cubicBezTo>
                <a:cubicBezTo>
                  <a:pt x="131578" y="311896"/>
                  <a:pt x="150471" y="329837"/>
                  <a:pt x="171865" y="344920"/>
                </a:cubicBezTo>
                <a:cubicBezTo>
                  <a:pt x="187186" y="355716"/>
                  <a:pt x="202903" y="365956"/>
                  <a:pt x="218859" y="375800"/>
                </a:cubicBezTo>
                <a:cubicBezTo>
                  <a:pt x="240888" y="389414"/>
                  <a:pt x="264663" y="399456"/>
                  <a:pt x="289074" y="407871"/>
                </a:cubicBezTo>
                <a:cubicBezTo>
                  <a:pt x="317056" y="417476"/>
                  <a:pt x="345674" y="424581"/>
                  <a:pt x="375165" y="427677"/>
                </a:cubicBezTo>
                <a:cubicBezTo>
                  <a:pt x="375324" y="427677"/>
                  <a:pt x="375482" y="427677"/>
                  <a:pt x="375641" y="427717"/>
                </a:cubicBezTo>
                <a:lnTo>
                  <a:pt x="426049" y="427717"/>
                </a:lnTo>
                <a:lnTo>
                  <a:pt x="426049" y="422477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163EECA5-1C29-4F69-9B4B-8BC4FCDE97D8}"/>
              </a:ext>
            </a:extLst>
          </p:cNvPr>
          <p:cNvSpPr/>
          <p:nvPr userDrawn="1"/>
        </p:nvSpPr>
        <p:spPr>
          <a:xfrm>
            <a:off x="11263759" y="3279795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D816E519-57C7-4561-AB18-3CF7C23792A2}"/>
              </a:ext>
            </a:extLst>
          </p:cNvPr>
          <p:cNvSpPr/>
          <p:nvPr userDrawn="1"/>
        </p:nvSpPr>
        <p:spPr>
          <a:xfrm>
            <a:off x="9313129" y="139345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198192CE-2808-487D-9542-FA7CDDACFF88}"/>
              </a:ext>
            </a:extLst>
          </p:cNvPr>
          <p:cNvSpPr/>
          <p:nvPr userDrawn="1"/>
        </p:nvSpPr>
        <p:spPr>
          <a:xfrm>
            <a:off x="2667716" y="1455514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235EAB61-8F48-471C-83CC-583F7C3AC5E6}"/>
              </a:ext>
            </a:extLst>
          </p:cNvPr>
          <p:cNvSpPr/>
          <p:nvPr userDrawn="1"/>
        </p:nvSpPr>
        <p:spPr>
          <a:xfrm rot="2700000">
            <a:off x="2697865" y="5221378"/>
            <a:ext cx="145571" cy="14557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Freeform: Shape 142">
            <a:extLst>
              <a:ext uri="{FF2B5EF4-FFF2-40B4-BE49-F238E27FC236}">
                <a16:creationId xmlns:a16="http://schemas.microsoft.com/office/drawing/2014/main" id="{6DC7609E-5CE2-426D-AF15-00D22CCE22E9}"/>
              </a:ext>
            </a:extLst>
          </p:cNvPr>
          <p:cNvSpPr/>
          <p:nvPr userDrawn="1"/>
        </p:nvSpPr>
        <p:spPr>
          <a:xfrm>
            <a:off x="9313129" y="517772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EC92D799-7962-4B59-8BC5-7B12E99DB3FD}"/>
              </a:ext>
            </a:extLst>
          </p:cNvPr>
          <p:cNvSpPr/>
          <p:nvPr userDrawn="1"/>
        </p:nvSpPr>
        <p:spPr>
          <a:xfrm rot="2700000">
            <a:off x="3940117" y="943225"/>
            <a:ext cx="162161" cy="16216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078C0EDF-F017-48CB-AED4-BCBD392C694F}"/>
              </a:ext>
            </a:extLst>
          </p:cNvPr>
          <p:cNvSpPr/>
          <p:nvPr userDrawn="1"/>
        </p:nvSpPr>
        <p:spPr>
          <a:xfrm>
            <a:off x="3904344" y="5706460"/>
            <a:ext cx="233706" cy="233706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6" name="Graphic 48">
            <a:extLst>
              <a:ext uri="{FF2B5EF4-FFF2-40B4-BE49-F238E27FC236}">
                <a16:creationId xmlns:a16="http://schemas.microsoft.com/office/drawing/2014/main" id="{7590C3E0-ACCC-4A4E-92EC-57F9B3532DE1}"/>
              </a:ext>
            </a:extLst>
          </p:cNvPr>
          <p:cNvGrpSpPr/>
          <p:nvPr userDrawn="1"/>
        </p:nvGrpSpPr>
        <p:grpSpPr>
          <a:xfrm>
            <a:off x="8052772" y="906818"/>
            <a:ext cx="234886" cy="234974"/>
            <a:chOff x="7651892" y="875989"/>
            <a:chExt cx="210856" cy="210935"/>
          </a:xfrm>
          <a:solidFill>
            <a:schemeClr val="bg1"/>
          </a:solidFill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693AE4E8-FA4B-4E2E-AB15-2B79DC484B4E}"/>
                </a:ext>
              </a:extLst>
            </p:cNvPr>
            <p:cNvSpPr/>
            <p:nvPr/>
          </p:nvSpPr>
          <p:spPr>
            <a:xfrm>
              <a:off x="7651912" y="875989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A75F3E28-E21E-493B-BC0D-880EB45464A4}"/>
                </a:ext>
              </a:extLst>
            </p:cNvPr>
            <p:cNvSpPr/>
            <p:nvPr/>
          </p:nvSpPr>
          <p:spPr>
            <a:xfrm>
              <a:off x="7651912" y="875989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341277FA-C44A-4CEA-AFE1-9229E82756A3}"/>
                </a:ext>
              </a:extLst>
            </p:cNvPr>
            <p:cNvSpPr/>
            <p:nvPr/>
          </p:nvSpPr>
          <p:spPr>
            <a:xfrm>
              <a:off x="7709332" y="933507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6C43F4A-A060-44B1-B00A-231DECD8E36A}"/>
                </a:ext>
              </a:extLst>
            </p:cNvPr>
            <p:cNvSpPr/>
            <p:nvPr/>
          </p:nvSpPr>
          <p:spPr>
            <a:xfrm>
              <a:off x="7651892" y="875989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B3455174-7C32-4305-9B0F-FA7AB0674DD1}"/>
                </a:ext>
              </a:extLst>
            </p:cNvPr>
            <p:cNvSpPr/>
            <p:nvPr/>
          </p:nvSpPr>
          <p:spPr>
            <a:xfrm>
              <a:off x="7769205" y="993380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85B78E8C-26B2-46B7-9F75-FB869530A88E}"/>
                </a:ext>
              </a:extLst>
            </p:cNvPr>
            <p:cNvSpPr/>
            <p:nvPr/>
          </p:nvSpPr>
          <p:spPr>
            <a:xfrm>
              <a:off x="7651931" y="875989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2B3D1745-047E-4D5B-8516-D97DBCE50183}"/>
                </a:ext>
              </a:extLst>
            </p:cNvPr>
            <p:cNvSpPr/>
            <p:nvPr/>
          </p:nvSpPr>
          <p:spPr>
            <a:xfrm>
              <a:off x="7828998" y="1053232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67CB9870-A11C-4099-8D76-723BA9E20353}"/>
              </a:ext>
            </a:extLst>
          </p:cNvPr>
          <p:cNvSpPr/>
          <p:nvPr userDrawn="1"/>
        </p:nvSpPr>
        <p:spPr>
          <a:xfrm>
            <a:off x="8052958" y="5705608"/>
            <a:ext cx="234515" cy="235410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3842F824-9933-4AF8-8453-5BEE88F81200}"/>
              </a:ext>
            </a:extLst>
          </p:cNvPr>
          <p:cNvSpPr/>
          <p:nvPr userDrawn="1"/>
        </p:nvSpPr>
        <p:spPr>
          <a:xfrm>
            <a:off x="2057941" y="3323337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bg1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6" name="Graphic 45">
            <a:extLst>
              <a:ext uri="{FF2B5EF4-FFF2-40B4-BE49-F238E27FC236}">
                <a16:creationId xmlns:a16="http://schemas.microsoft.com/office/drawing/2014/main" id="{3FA886FA-DCEA-4B96-AF37-51EE51CEEB4D}"/>
              </a:ext>
            </a:extLst>
          </p:cNvPr>
          <p:cNvGrpSpPr/>
          <p:nvPr userDrawn="1"/>
        </p:nvGrpSpPr>
        <p:grpSpPr>
          <a:xfrm>
            <a:off x="9923204" y="3323533"/>
            <a:ext cx="210856" cy="210935"/>
            <a:chOff x="10112114" y="3433451"/>
            <a:chExt cx="210856" cy="210935"/>
          </a:xfrm>
          <a:solidFill>
            <a:schemeClr val="bg1"/>
          </a:solidFill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A073E583-A1E2-494B-8BCC-8CBB1E7E8137}"/>
                </a:ext>
              </a:extLst>
            </p:cNvPr>
            <p:cNvSpPr/>
            <p:nvPr/>
          </p:nvSpPr>
          <p:spPr>
            <a:xfrm>
              <a:off x="10112134" y="3433451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41D1BCCC-C659-49F3-8024-8EE1A184A0C6}"/>
                </a:ext>
              </a:extLst>
            </p:cNvPr>
            <p:cNvSpPr/>
            <p:nvPr/>
          </p:nvSpPr>
          <p:spPr>
            <a:xfrm>
              <a:off x="10112134" y="3433451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5FA21888-8F00-4A16-BADC-2F8CDCFF7C0F}"/>
                </a:ext>
              </a:extLst>
            </p:cNvPr>
            <p:cNvSpPr/>
            <p:nvPr/>
          </p:nvSpPr>
          <p:spPr>
            <a:xfrm>
              <a:off x="10169554" y="3490969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92B96418-3628-47FB-AEA4-778AC229A9C6}"/>
                </a:ext>
              </a:extLst>
            </p:cNvPr>
            <p:cNvSpPr/>
            <p:nvPr/>
          </p:nvSpPr>
          <p:spPr>
            <a:xfrm>
              <a:off x="10112114" y="3433451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4FDE97E9-842A-46C2-ACBD-F46D4450787E}"/>
                </a:ext>
              </a:extLst>
            </p:cNvPr>
            <p:cNvSpPr/>
            <p:nvPr/>
          </p:nvSpPr>
          <p:spPr>
            <a:xfrm>
              <a:off x="10229427" y="3550842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F2D4DDFD-9449-436C-B368-BCEAB23EB51A}"/>
                </a:ext>
              </a:extLst>
            </p:cNvPr>
            <p:cNvSpPr/>
            <p:nvPr/>
          </p:nvSpPr>
          <p:spPr>
            <a:xfrm>
              <a:off x="10112153" y="3433451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197E822A-91C3-4019-8AC7-7BB55ACF7E1C}"/>
                </a:ext>
              </a:extLst>
            </p:cNvPr>
            <p:cNvSpPr/>
            <p:nvPr/>
          </p:nvSpPr>
          <p:spPr>
            <a:xfrm>
              <a:off x="10289220" y="3610694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7840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93CF53-D780-4D12-9B0C-8CC6464F57C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813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 altLang="zh-CN" dirty="0"/>
              <a:t>Click to edit </a:t>
            </a:r>
            <a:br>
              <a:rPr lang="en-US" altLang="zh-CN" dirty="0"/>
            </a:br>
            <a:r>
              <a:rPr lang="en-US" altLang="zh-CN" dirty="0"/>
              <a:t>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CF85FB-5772-4C4D-8E00-7533A99572E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195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200" dirty="0">
                <a:solidFill>
                  <a:srgbClr val="7F7F7F"/>
                </a:solidFill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GB" altLang="zh-CN">
                <a:latin typeface="Inter SemiBold" panose="02000503000000020004" pitchFamily="2" charset="0"/>
                <a:ea typeface="Inter SemiBold" panose="02000503000000020004" pitchFamily="2" charset="0"/>
              </a:rPr>
              <a:t>Click to edit Master subtitle style</a:t>
            </a:r>
            <a:endParaRPr lang="en-US" dirty="0">
              <a:latin typeface="Inter SemiBold" panose="02000503000000020004" pitchFamily="2" charset="0"/>
              <a:ea typeface="Inter SemiBold" panose="02000503000000020004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43D207B-C17E-4FC6-B024-162367472E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89580" y="0"/>
            <a:ext cx="2002420" cy="200242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9534CE2-B57A-44AC-83A1-C062CA40E61B}"/>
              </a:ext>
            </a:extLst>
          </p:cNvPr>
          <p:cNvPicPr>
            <a:picLocks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8900000">
            <a:off x="6944408" y="866415"/>
            <a:ext cx="4183415" cy="418341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4350382-B984-46E6-9022-61C414F50549}"/>
              </a:ext>
            </a:extLst>
          </p:cNvPr>
          <p:cNvGrpSpPr/>
          <p:nvPr userDrawn="1"/>
        </p:nvGrpSpPr>
        <p:grpSpPr>
          <a:xfrm>
            <a:off x="9267175" y="3219804"/>
            <a:ext cx="2924827" cy="3638197"/>
            <a:chOff x="9267175" y="3219804"/>
            <a:chExt cx="2924827" cy="3638197"/>
          </a:xfrm>
          <a:solidFill>
            <a:schemeClr val="bg1">
              <a:lumMod val="95000"/>
            </a:schemeClr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5B80DA7-E3EC-47D1-A206-5EB9CD7CE644}"/>
                </a:ext>
              </a:extLst>
            </p:cNvPr>
            <p:cNvSpPr/>
            <p:nvPr/>
          </p:nvSpPr>
          <p:spPr>
            <a:xfrm>
              <a:off x="11970841" y="3219804"/>
              <a:ext cx="221161" cy="442323"/>
            </a:xfrm>
            <a:custGeom>
              <a:avLst/>
              <a:gdLst>
                <a:gd name="connsiteX0" fmla="*/ 221161 w 221161"/>
                <a:gd name="connsiteY0" fmla="*/ 0 h 442323"/>
                <a:gd name="connsiteX1" fmla="*/ 221161 w 221161"/>
                <a:gd name="connsiteY1" fmla="*/ 442323 h 442323"/>
                <a:gd name="connsiteX2" fmla="*/ 0 w 221161"/>
                <a:gd name="connsiteY2" fmla="*/ 221162 h 442323"/>
                <a:gd name="connsiteX3" fmla="*/ 221161 w 221161"/>
                <a:gd name="connsiteY3" fmla="*/ 0 h 44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161" h="442323">
                  <a:moveTo>
                    <a:pt x="221161" y="0"/>
                  </a:moveTo>
                  <a:lnTo>
                    <a:pt x="221161" y="442323"/>
                  </a:lnTo>
                  <a:lnTo>
                    <a:pt x="0" y="221162"/>
                  </a:lnTo>
                  <a:lnTo>
                    <a:pt x="221161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43C2072-9010-4CF1-AD3B-99AEF88DCF37}"/>
                </a:ext>
              </a:extLst>
            </p:cNvPr>
            <p:cNvSpPr/>
            <p:nvPr/>
          </p:nvSpPr>
          <p:spPr>
            <a:xfrm>
              <a:off x="11520285" y="3662125"/>
              <a:ext cx="671717" cy="901113"/>
            </a:xfrm>
            <a:custGeom>
              <a:avLst/>
              <a:gdLst>
                <a:gd name="connsiteX0" fmla="*/ 229395 w 671717"/>
                <a:gd name="connsiteY0" fmla="*/ 0 h 901113"/>
                <a:gd name="connsiteX1" fmla="*/ 671717 w 671717"/>
                <a:gd name="connsiteY1" fmla="*/ 442322 h 901113"/>
                <a:gd name="connsiteX2" fmla="*/ 671717 w 671717"/>
                <a:gd name="connsiteY2" fmla="*/ 901113 h 901113"/>
                <a:gd name="connsiteX3" fmla="*/ 0 w 671717"/>
                <a:gd name="connsiteY3" fmla="*/ 229396 h 901113"/>
                <a:gd name="connsiteX4" fmla="*/ 229395 w 671717"/>
                <a:gd name="connsiteY4" fmla="*/ 0 h 90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717" h="901113">
                  <a:moveTo>
                    <a:pt x="229395" y="0"/>
                  </a:moveTo>
                  <a:lnTo>
                    <a:pt x="671717" y="442322"/>
                  </a:lnTo>
                  <a:lnTo>
                    <a:pt x="671717" y="901113"/>
                  </a:lnTo>
                  <a:lnTo>
                    <a:pt x="0" y="229396"/>
                  </a:lnTo>
                  <a:lnTo>
                    <a:pt x="229395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FD515D6-B744-42A0-9A35-AA860833EA0D}"/>
                </a:ext>
              </a:extLst>
            </p:cNvPr>
            <p:cNvSpPr/>
            <p:nvPr/>
          </p:nvSpPr>
          <p:spPr>
            <a:xfrm>
              <a:off x="11069565" y="4112847"/>
              <a:ext cx="1122437" cy="1351833"/>
            </a:xfrm>
            <a:custGeom>
              <a:avLst/>
              <a:gdLst>
                <a:gd name="connsiteX0" fmla="*/ 229394 w 1122437"/>
                <a:gd name="connsiteY0" fmla="*/ 0 h 1351833"/>
                <a:gd name="connsiteX1" fmla="*/ 1122437 w 1122437"/>
                <a:gd name="connsiteY1" fmla="*/ 893043 h 1351833"/>
                <a:gd name="connsiteX2" fmla="*/ 1122437 w 1122437"/>
                <a:gd name="connsiteY2" fmla="*/ 1351833 h 1351833"/>
                <a:gd name="connsiteX3" fmla="*/ 0 w 1122437"/>
                <a:gd name="connsiteY3" fmla="*/ 229395 h 1351833"/>
                <a:gd name="connsiteX4" fmla="*/ 229394 w 1122437"/>
                <a:gd name="connsiteY4" fmla="*/ 0 h 1351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437" h="1351833">
                  <a:moveTo>
                    <a:pt x="229394" y="0"/>
                  </a:moveTo>
                  <a:lnTo>
                    <a:pt x="1122437" y="893043"/>
                  </a:lnTo>
                  <a:lnTo>
                    <a:pt x="1122437" y="1351833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1BAF4B8-0D95-4EF8-8878-4F5D63D92B67}"/>
                </a:ext>
              </a:extLst>
            </p:cNvPr>
            <p:cNvSpPr/>
            <p:nvPr/>
          </p:nvSpPr>
          <p:spPr>
            <a:xfrm>
              <a:off x="10619009" y="4563402"/>
              <a:ext cx="1572993" cy="1802389"/>
            </a:xfrm>
            <a:custGeom>
              <a:avLst/>
              <a:gdLst>
                <a:gd name="connsiteX0" fmla="*/ 229394 w 1572993"/>
                <a:gd name="connsiteY0" fmla="*/ 0 h 1802389"/>
                <a:gd name="connsiteX1" fmla="*/ 1572993 w 1572993"/>
                <a:gd name="connsiteY1" fmla="*/ 1343599 h 1802389"/>
                <a:gd name="connsiteX2" fmla="*/ 1572993 w 1572993"/>
                <a:gd name="connsiteY2" fmla="*/ 1802389 h 1802389"/>
                <a:gd name="connsiteX3" fmla="*/ 0 w 1572993"/>
                <a:gd name="connsiteY3" fmla="*/ 229395 h 1802389"/>
                <a:gd name="connsiteX4" fmla="*/ 229394 w 1572993"/>
                <a:gd name="connsiteY4" fmla="*/ 0 h 180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2993" h="1802389">
                  <a:moveTo>
                    <a:pt x="229394" y="0"/>
                  </a:moveTo>
                  <a:lnTo>
                    <a:pt x="1572993" y="1343599"/>
                  </a:lnTo>
                  <a:lnTo>
                    <a:pt x="1572993" y="1802389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BF3852E-87C9-484C-8CF4-7ECCA107C7AE}"/>
                </a:ext>
              </a:extLst>
            </p:cNvPr>
            <p:cNvSpPr/>
            <p:nvPr/>
          </p:nvSpPr>
          <p:spPr>
            <a:xfrm>
              <a:off x="10168453" y="5013958"/>
              <a:ext cx="2023549" cy="1844042"/>
            </a:xfrm>
            <a:custGeom>
              <a:avLst/>
              <a:gdLst>
                <a:gd name="connsiteX0" fmla="*/ 229394 w 2023549"/>
                <a:gd name="connsiteY0" fmla="*/ 0 h 1844042"/>
                <a:gd name="connsiteX1" fmla="*/ 2023549 w 2023549"/>
                <a:gd name="connsiteY1" fmla="*/ 1794155 h 1844042"/>
                <a:gd name="connsiteX2" fmla="*/ 2023549 w 2023549"/>
                <a:gd name="connsiteY2" fmla="*/ 1844042 h 1844042"/>
                <a:gd name="connsiteX3" fmla="*/ 1614646 w 2023549"/>
                <a:gd name="connsiteY3" fmla="*/ 1844042 h 1844042"/>
                <a:gd name="connsiteX4" fmla="*/ 0 w 2023549"/>
                <a:gd name="connsiteY4" fmla="*/ 229395 h 1844042"/>
                <a:gd name="connsiteX5" fmla="*/ 229394 w 2023549"/>
                <a:gd name="connsiteY5" fmla="*/ 0 h 184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3549" h="1844042">
                  <a:moveTo>
                    <a:pt x="229394" y="0"/>
                  </a:moveTo>
                  <a:lnTo>
                    <a:pt x="2023549" y="1794155"/>
                  </a:lnTo>
                  <a:lnTo>
                    <a:pt x="2023549" y="1844042"/>
                  </a:lnTo>
                  <a:lnTo>
                    <a:pt x="1614646" y="1844042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4418FB1-39B7-427D-96E7-B231DDEDEF1E}"/>
                </a:ext>
              </a:extLst>
            </p:cNvPr>
            <p:cNvSpPr/>
            <p:nvPr/>
          </p:nvSpPr>
          <p:spPr>
            <a:xfrm>
              <a:off x="9717731" y="5464678"/>
              <a:ext cx="1622717" cy="1393322"/>
            </a:xfrm>
            <a:custGeom>
              <a:avLst/>
              <a:gdLst>
                <a:gd name="connsiteX0" fmla="*/ 229395 w 1622717"/>
                <a:gd name="connsiteY0" fmla="*/ 0 h 1393322"/>
                <a:gd name="connsiteX1" fmla="*/ 1622717 w 1622717"/>
                <a:gd name="connsiteY1" fmla="*/ 1393322 h 1393322"/>
                <a:gd name="connsiteX2" fmla="*/ 1163926 w 1622717"/>
                <a:gd name="connsiteY2" fmla="*/ 1393322 h 1393322"/>
                <a:gd name="connsiteX3" fmla="*/ 0 w 1622717"/>
                <a:gd name="connsiteY3" fmla="*/ 229396 h 1393322"/>
                <a:gd name="connsiteX4" fmla="*/ 229395 w 1622717"/>
                <a:gd name="connsiteY4" fmla="*/ 0 h 139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2717" h="1393322">
                  <a:moveTo>
                    <a:pt x="229395" y="0"/>
                  </a:moveTo>
                  <a:lnTo>
                    <a:pt x="1622717" y="1393322"/>
                  </a:lnTo>
                  <a:lnTo>
                    <a:pt x="1163926" y="1393322"/>
                  </a:lnTo>
                  <a:lnTo>
                    <a:pt x="0" y="229396"/>
                  </a:lnTo>
                  <a:lnTo>
                    <a:pt x="229395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46108C0-FB80-40B7-B2C2-54922AA78150}"/>
                </a:ext>
              </a:extLst>
            </p:cNvPr>
            <p:cNvSpPr/>
            <p:nvPr/>
          </p:nvSpPr>
          <p:spPr>
            <a:xfrm>
              <a:off x="9267175" y="5915236"/>
              <a:ext cx="1172159" cy="942765"/>
            </a:xfrm>
            <a:custGeom>
              <a:avLst/>
              <a:gdLst>
                <a:gd name="connsiteX0" fmla="*/ 229394 w 1172159"/>
                <a:gd name="connsiteY0" fmla="*/ 0 h 942765"/>
                <a:gd name="connsiteX1" fmla="*/ 1172159 w 1172159"/>
                <a:gd name="connsiteY1" fmla="*/ 942765 h 942765"/>
                <a:gd name="connsiteX2" fmla="*/ 713370 w 1172159"/>
                <a:gd name="connsiteY2" fmla="*/ 942765 h 942765"/>
                <a:gd name="connsiteX3" fmla="*/ 0 w 1172159"/>
                <a:gd name="connsiteY3" fmla="*/ 229395 h 942765"/>
                <a:gd name="connsiteX4" fmla="*/ 229394 w 1172159"/>
                <a:gd name="connsiteY4" fmla="*/ 0 h 94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2159" h="942765">
                  <a:moveTo>
                    <a:pt x="229394" y="0"/>
                  </a:moveTo>
                  <a:lnTo>
                    <a:pt x="1172159" y="942765"/>
                  </a:lnTo>
                  <a:lnTo>
                    <a:pt x="713370" y="942765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645B160-0434-4BA9-A0EF-8294499F0E7B}"/>
              </a:ext>
            </a:extLst>
          </p:cNvPr>
          <p:cNvGrpSpPr/>
          <p:nvPr userDrawn="1"/>
        </p:nvGrpSpPr>
        <p:grpSpPr>
          <a:xfrm>
            <a:off x="543811" y="405498"/>
            <a:ext cx="942915" cy="325431"/>
            <a:chOff x="543812" y="405498"/>
            <a:chExt cx="942915" cy="325431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262646E-F500-43B8-B1A9-7B874D0F44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l="31439"/>
            <a:stretch/>
          </p:blipFill>
          <p:spPr>
            <a:xfrm>
              <a:off x="840260" y="405498"/>
              <a:ext cx="646467" cy="325431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E8CC496-5984-46F5-B9F0-1C3DB8B3AC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68560"/>
            <a:stretch/>
          </p:blipFill>
          <p:spPr>
            <a:xfrm>
              <a:off x="543812" y="405498"/>
              <a:ext cx="296448" cy="325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4778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85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506577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258DF6C-E716-4580-B75D-97D115AD8BA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93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760446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69677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82FCDF-9261-4C15-8C62-4B4D648197C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14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7918704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4627B44-79C0-4ACA-8062-6B493B6A527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93CF53-D780-4D12-9B0C-8CC6464F57C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971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66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 altLang="zh-CN" dirty="0"/>
              <a:t>Click to edit </a:t>
            </a:r>
            <a:br>
              <a:rPr lang="en-US" altLang="zh-CN" dirty="0"/>
            </a:br>
            <a:r>
              <a:rPr lang="en-US" altLang="zh-CN" dirty="0"/>
              <a:t>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CF85FB-5772-4C4D-8E00-7533A99572E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895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85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506577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258DF6C-E716-4580-B75D-97D115AD8BA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052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93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760446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69677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82FCDF-9261-4C15-8C62-4B4D648197C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8733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14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7918704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4627B44-79C0-4ACA-8062-6B493B6A527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4091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037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145167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44B7BB-D7C1-406A-9E1C-0F043B08C0F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D0343F-8FF1-45B2-821F-A0215C86DD3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ayou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469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200" dirty="0">
                <a:solidFill>
                  <a:srgbClr val="7F7F7F"/>
                </a:solidFill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GB" altLang="zh-CN">
                <a:latin typeface="Inter SemiBold" panose="02000503000000020004" pitchFamily="2" charset="0"/>
                <a:ea typeface="Inter SemiBold" panose="02000503000000020004" pitchFamily="2" charset="0"/>
              </a:rPr>
              <a:t>Click to edit Master subtitle style</a:t>
            </a:r>
            <a:endParaRPr lang="en-US" dirty="0">
              <a:latin typeface="Inter SemiBold" panose="02000503000000020004" pitchFamily="2" charset="0"/>
              <a:ea typeface="Inter SemiBold" panose="02000503000000020004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76E853C-0264-4A05-8CD7-46ECE17A6878}"/>
              </a:ext>
            </a:extLst>
          </p:cNvPr>
          <p:cNvSpPr/>
          <p:nvPr userDrawn="1"/>
        </p:nvSpPr>
        <p:spPr>
          <a:xfrm>
            <a:off x="4448670" y="1"/>
            <a:ext cx="7743331" cy="4835031"/>
          </a:xfrm>
          <a:custGeom>
            <a:avLst/>
            <a:gdLst>
              <a:gd name="connsiteX0" fmla="*/ 0 w 7743331"/>
              <a:gd name="connsiteY0" fmla="*/ 0 h 4835031"/>
              <a:gd name="connsiteX1" fmla="*/ 7743331 w 7743331"/>
              <a:gd name="connsiteY1" fmla="*/ 0 h 4835031"/>
              <a:gd name="connsiteX2" fmla="*/ 7743331 w 7743331"/>
              <a:gd name="connsiteY2" fmla="*/ 1926731 h 4835031"/>
              <a:gd name="connsiteX3" fmla="*/ 4835031 w 7743331"/>
              <a:gd name="connsiteY3" fmla="*/ 4835031 h 4835031"/>
              <a:gd name="connsiteX4" fmla="*/ 0 w 7743331"/>
              <a:gd name="connsiteY4" fmla="*/ 0 h 4835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3331" h="4835031">
                <a:moveTo>
                  <a:pt x="0" y="0"/>
                </a:moveTo>
                <a:lnTo>
                  <a:pt x="7743331" y="0"/>
                </a:lnTo>
                <a:lnTo>
                  <a:pt x="7743331" y="1926731"/>
                </a:lnTo>
                <a:lnTo>
                  <a:pt x="4835031" y="4835031"/>
                </a:lnTo>
                <a:lnTo>
                  <a:pt x="0" y="0"/>
                </a:lnTo>
                <a:close/>
              </a:path>
            </a:pathLst>
          </a:cu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자유형: 도형 94">
            <a:extLst>
              <a:ext uri="{FF2B5EF4-FFF2-40B4-BE49-F238E27FC236}">
                <a16:creationId xmlns:a16="http://schemas.microsoft.com/office/drawing/2014/main" id="{87CD2BB2-5340-4407-8747-989C1A53C695}"/>
              </a:ext>
            </a:extLst>
          </p:cNvPr>
          <p:cNvSpPr/>
          <p:nvPr userDrawn="1"/>
        </p:nvSpPr>
        <p:spPr>
          <a:xfrm>
            <a:off x="9088645" y="5876946"/>
            <a:ext cx="1962110" cy="981054"/>
          </a:xfrm>
          <a:custGeom>
            <a:avLst/>
            <a:gdLst>
              <a:gd name="connsiteX0" fmla="*/ 685800 w 1371600"/>
              <a:gd name="connsiteY0" fmla="*/ 0 h 685800"/>
              <a:gd name="connsiteX1" fmla="*/ 1371600 w 1371600"/>
              <a:gd name="connsiteY1" fmla="*/ 685800 h 685800"/>
              <a:gd name="connsiteX2" fmla="*/ 0 w 1371600"/>
              <a:gd name="connsiteY2" fmla="*/ 685800 h 685800"/>
              <a:gd name="connsiteX3" fmla="*/ 685800 w 1371600"/>
              <a:gd name="connsiteY3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1600" h="685800">
                <a:moveTo>
                  <a:pt x="685800" y="0"/>
                </a:moveTo>
                <a:cubicBezTo>
                  <a:pt x="1064557" y="0"/>
                  <a:pt x="1371600" y="307043"/>
                  <a:pt x="1371600" y="685800"/>
                </a:cubicBezTo>
                <a:lnTo>
                  <a:pt x="0" y="685800"/>
                </a:lnTo>
                <a:cubicBezTo>
                  <a:pt x="0" y="307043"/>
                  <a:pt x="307043" y="0"/>
                  <a:pt x="6858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9A1F593-F910-4F02-84FA-ACF684D8F617}"/>
              </a:ext>
            </a:extLst>
          </p:cNvPr>
          <p:cNvGrpSpPr/>
          <p:nvPr userDrawn="1"/>
        </p:nvGrpSpPr>
        <p:grpSpPr>
          <a:xfrm>
            <a:off x="8663869" y="4874928"/>
            <a:ext cx="1218315" cy="1218315"/>
            <a:chOff x="7533568" y="2874092"/>
            <a:chExt cx="1218315" cy="1218315"/>
          </a:xfrm>
          <a:solidFill>
            <a:schemeClr val="bg1">
              <a:lumMod val="95000"/>
            </a:schemeClr>
          </a:solidFill>
        </p:grpSpPr>
        <p:sp>
          <p:nvSpPr>
            <p:cNvPr id="28" name="타원 59">
              <a:extLst>
                <a:ext uri="{FF2B5EF4-FFF2-40B4-BE49-F238E27FC236}">
                  <a16:creationId xmlns:a16="http://schemas.microsoft.com/office/drawing/2014/main" id="{F110009E-D690-4646-AEBB-4B045C900412}"/>
                </a:ext>
              </a:extLst>
            </p:cNvPr>
            <p:cNvSpPr/>
            <p:nvPr/>
          </p:nvSpPr>
          <p:spPr>
            <a:xfrm>
              <a:off x="7533568" y="2874092"/>
              <a:ext cx="1218315" cy="1218315"/>
            </a:xfrm>
            <a:prstGeom prst="ellipse">
              <a:avLst/>
            </a:prstGeom>
            <a:grpFill/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타원 62">
              <a:extLst>
                <a:ext uri="{FF2B5EF4-FFF2-40B4-BE49-F238E27FC236}">
                  <a16:creationId xmlns:a16="http://schemas.microsoft.com/office/drawing/2014/main" id="{F0BAF6A8-CF0D-4EBD-94B7-96F03D2CB4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13844" y="3167068"/>
              <a:ext cx="657763" cy="657763"/>
            </a:xfrm>
            <a:prstGeom prst="diamond">
              <a:avLst/>
            </a:prstGeom>
            <a:grpFill/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타원 59">
            <a:extLst>
              <a:ext uri="{FF2B5EF4-FFF2-40B4-BE49-F238E27FC236}">
                <a16:creationId xmlns:a16="http://schemas.microsoft.com/office/drawing/2014/main" id="{7E05A07C-1292-47DF-A053-30B4143F678D}"/>
              </a:ext>
            </a:extLst>
          </p:cNvPr>
          <p:cNvSpPr/>
          <p:nvPr userDrawn="1"/>
        </p:nvSpPr>
        <p:spPr>
          <a:xfrm rot="2077018">
            <a:off x="8665705" y="4535031"/>
            <a:ext cx="388193" cy="38819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타원 77">
            <a:extLst>
              <a:ext uri="{FF2B5EF4-FFF2-40B4-BE49-F238E27FC236}">
                <a16:creationId xmlns:a16="http://schemas.microsoft.com/office/drawing/2014/main" id="{2D46356A-3C64-4669-8586-C1856B41C87A}"/>
              </a:ext>
            </a:extLst>
          </p:cNvPr>
          <p:cNvSpPr>
            <a:spLocks noChangeAspect="1"/>
          </p:cNvSpPr>
          <p:nvPr userDrawn="1"/>
        </p:nvSpPr>
        <p:spPr>
          <a:xfrm rot="2513626">
            <a:off x="9916257" y="4088060"/>
            <a:ext cx="424712" cy="424712"/>
          </a:xfrm>
          <a:prstGeom prst="diamond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5B00E63-D8EB-4233-92D2-176A6FA0E1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217992">
            <a:off x="9683634" y="4421907"/>
            <a:ext cx="1309462" cy="114694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98BCC93-74FB-4D58-A3C1-9CC29C8C9BE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9839863">
            <a:off x="10154920" y="5364479"/>
            <a:ext cx="457517" cy="457517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F91CFA96-927E-4CA8-A5F4-7F0C850AF07F}"/>
              </a:ext>
            </a:extLst>
          </p:cNvPr>
          <p:cNvGrpSpPr/>
          <p:nvPr userDrawn="1"/>
        </p:nvGrpSpPr>
        <p:grpSpPr>
          <a:xfrm>
            <a:off x="543811" y="405498"/>
            <a:ext cx="942915" cy="325431"/>
            <a:chOff x="543812" y="405498"/>
            <a:chExt cx="942915" cy="32543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6724F37-7ED1-4948-9367-99A1F0F9E4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l="31439"/>
            <a:stretch/>
          </p:blipFill>
          <p:spPr>
            <a:xfrm>
              <a:off x="840260" y="405498"/>
              <a:ext cx="646467" cy="32543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427D711-56DD-41CD-AA6E-4BCAB966B7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68560"/>
            <a:stretch/>
          </p:blipFill>
          <p:spPr>
            <a:xfrm>
              <a:off x="543812" y="405498"/>
              <a:ext cx="296448" cy="325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604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543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77A2C6A-9913-4555-A553-E4463C7971BA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FBEB2E2-5DC8-4C3A-9481-1ECA637BEC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49811"/>
          <a:stretch/>
        </p:blipFill>
        <p:spPr>
          <a:xfrm>
            <a:off x="341728" y="1082041"/>
            <a:ext cx="11508545" cy="5775960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9896282-5F7E-4706-AFE9-F058A581DB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77481" y="3111038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E73DE3-7E2A-4384-9721-710FFA66375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1942" y="6450013"/>
            <a:ext cx="651600" cy="224889"/>
          </a:xfrm>
          <a:prstGeom prst="rect">
            <a:avLst/>
          </a:prstGeom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0A202AC9-07E0-41F4-B0D6-9B716ACABCC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3962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A83ED420-82C6-4911-8C49-6C20217A3865}"/>
              </a:ext>
            </a:extLst>
          </p:cNvPr>
          <p:cNvPicPr>
            <a:picLocks/>
          </p:cNvPicPr>
          <p:nvPr userDrawn="1"/>
        </p:nvPicPr>
        <p:blipFill rotWithShape="1">
          <a:blip r:embed="rId7"/>
          <a:srcRect b="49836"/>
          <a:stretch/>
        </p:blipFill>
        <p:spPr>
          <a:xfrm>
            <a:off x="457691" y="1201258"/>
            <a:ext cx="11276618" cy="565674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EE8CA48-C789-45D8-A4EA-E5DABCBFD0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9896282-5F7E-4706-AFE9-F058A581DBA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77481" y="3111038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E73DE3-7E2A-4384-9721-710FFA66375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51942" y="6450013"/>
            <a:ext cx="651600" cy="224889"/>
          </a:xfrm>
          <a:prstGeom prst="rect">
            <a:avLst/>
          </a:prstGeom>
        </p:spPr>
      </p:pic>
      <p:sp>
        <p:nvSpPr>
          <p:cNvPr id="28" name="Slide Number">
            <a:extLst>
              <a:ext uri="{FF2B5EF4-FFF2-40B4-BE49-F238E27FC236}">
                <a16:creationId xmlns:a16="http://schemas.microsoft.com/office/drawing/2014/main" id="{84D11465-30EC-4832-9120-723181A6597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5283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07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BDF6BA-2B1E-40F0-82BE-2E0AC42ACCD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50000"/>
          </a:blip>
          <a:stretch>
            <a:fillRect/>
          </a:stretch>
        </p:blipFill>
        <p:spPr>
          <a:xfrm>
            <a:off x="0" y="682217"/>
            <a:ext cx="6553768" cy="61757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6DBFD36-F410-4306-B44C-9D6AABA27C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8CDEEE-2B90-496D-923C-9D8B90C857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4343" y="3111038"/>
            <a:ext cx="492866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75E3103C-261D-44B9-B91D-C744D258195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7001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996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B25585F-29A2-4A78-9933-1407F1B2D72F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BDF6BA-2B1E-40F0-82BE-2E0AC42ACCDD}"/>
              </a:ext>
            </a:extLst>
          </p:cNvPr>
          <p:cNvPicPr>
            <a:picLocks/>
          </p:cNvPicPr>
          <p:nvPr userDrawn="1"/>
        </p:nvPicPr>
        <p:blipFill>
          <a:blip r:embed="rId7">
            <a:alphaModFix amt="50000"/>
          </a:blip>
          <a:stretch>
            <a:fillRect/>
          </a:stretch>
        </p:blipFill>
        <p:spPr>
          <a:xfrm>
            <a:off x="0" y="682217"/>
            <a:ext cx="6553768" cy="6175783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8CDEEE-2B90-496D-923C-9D8B90C857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4343" y="3111038"/>
            <a:ext cx="492866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B5D664-87BC-4F40-9860-C49B7C4FAC1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51942" y="6450013"/>
            <a:ext cx="651600" cy="224889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776CC22B-AFC6-46E1-9040-8AC80772510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9882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19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548F01-D196-4B14-BA78-8B1C314396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99741" y="2915712"/>
            <a:ext cx="792518" cy="102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181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19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81762EC-D31F-4F46-8E03-DD4BB30CA71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7BBE3BF-3986-4203-86E9-304F6C157C50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99741" y="2915712"/>
            <a:ext cx="792518" cy="102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0986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66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760446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179162"/>
            <a:ext cx="110825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403851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27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70E502F-EDED-4AEA-A155-900A96CCAF0C}"/>
              </a:ext>
            </a:extLst>
          </p:cNvPr>
          <p:cNvGrpSpPr/>
          <p:nvPr userDrawn="1"/>
        </p:nvGrpSpPr>
        <p:grpSpPr>
          <a:xfrm flipH="1">
            <a:off x="10136251" y="0"/>
            <a:ext cx="2715506" cy="7124748"/>
            <a:chOff x="-660564" y="0"/>
            <a:chExt cx="2715506" cy="7124748"/>
          </a:xfrm>
        </p:grpSpPr>
        <p:sp>
          <p:nvSpPr>
            <p:cNvPr id="11" name="타원 59">
              <a:extLst>
                <a:ext uri="{FF2B5EF4-FFF2-40B4-BE49-F238E27FC236}">
                  <a16:creationId xmlns:a16="http://schemas.microsoft.com/office/drawing/2014/main" id="{E8F7B00A-E19A-4E44-9B46-B74B8CFCEDB9}"/>
                </a:ext>
              </a:extLst>
            </p:cNvPr>
            <p:cNvSpPr/>
            <p:nvPr userDrawn="1"/>
          </p:nvSpPr>
          <p:spPr>
            <a:xfrm rot="17404054" flipH="1">
              <a:off x="129253" y="2149292"/>
              <a:ext cx="915338" cy="915338"/>
            </a:xfrm>
            <a:prstGeom prst="rect">
              <a:avLst/>
            </a:prstGeom>
            <a:solidFill>
              <a:srgbClr val="FFC900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B7339C48-48E0-4E58-A8BC-D93A11EBEF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6200000">
              <a:off x="0" y="0"/>
              <a:ext cx="2054942" cy="205494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098B5F9-896C-4C0B-9DA9-EAE2713D02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4054244">
              <a:off x="161949" y="4489357"/>
              <a:ext cx="1041083" cy="1046965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62705A7-FF8B-49AF-A9AA-9E64290E0540}"/>
                </a:ext>
              </a:extLst>
            </p:cNvPr>
            <p:cNvGrpSpPr/>
            <p:nvPr userDrawn="1"/>
          </p:nvGrpSpPr>
          <p:grpSpPr>
            <a:xfrm>
              <a:off x="0" y="3155019"/>
              <a:ext cx="1280160" cy="1280160"/>
              <a:chOff x="0" y="3174683"/>
              <a:chExt cx="879158" cy="879158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140D07-B683-4551-834A-DD3056F37CF6}"/>
                  </a:ext>
                </a:extLst>
              </p:cNvPr>
              <p:cNvSpPr/>
              <p:nvPr/>
            </p:nvSpPr>
            <p:spPr>
              <a:xfrm>
                <a:off x="0" y="3174683"/>
                <a:ext cx="879158" cy="879158"/>
              </a:xfrm>
              <a:custGeom>
                <a:avLst/>
                <a:gdLst>
                  <a:gd name="connsiteX0" fmla="*/ 879158 w 879158"/>
                  <a:gd name="connsiteY0" fmla="*/ 439579 h 879158"/>
                  <a:gd name="connsiteX1" fmla="*/ 439579 w 879158"/>
                  <a:gd name="connsiteY1" fmla="*/ 879158 h 879158"/>
                  <a:gd name="connsiteX2" fmla="*/ 0 w 879158"/>
                  <a:gd name="connsiteY2" fmla="*/ 439579 h 879158"/>
                  <a:gd name="connsiteX3" fmla="*/ 439579 w 879158"/>
                  <a:gd name="connsiteY3" fmla="*/ 0 h 879158"/>
                  <a:gd name="connsiteX4" fmla="*/ 879158 w 879158"/>
                  <a:gd name="connsiteY4" fmla="*/ 439579 h 8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9158" h="879158">
                    <a:moveTo>
                      <a:pt x="879158" y="439579"/>
                    </a:moveTo>
                    <a:cubicBezTo>
                      <a:pt x="879158" y="682352"/>
                      <a:pt x="682352" y="879158"/>
                      <a:pt x="439579" y="879158"/>
                    </a:cubicBezTo>
                    <a:cubicBezTo>
                      <a:pt x="196806" y="879158"/>
                      <a:pt x="0" y="682352"/>
                      <a:pt x="0" y="439579"/>
                    </a:cubicBezTo>
                    <a:cubicBezTo>
                      <a:pt x="0" y="196806"/>
                      <a:pt x="196806" y="0"/>
                      <a:pt x="439579" y="0"/>
                    </a:cubicBezTo>
                    <a:cubicBezTo>
                      <a:pt x="682352" y="0"/>
                      <a:pt x="879158" y="196806"/>
                      <a:pt x="879158" y="4395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4EBD521-50FB-47E4-AF8D-1DB809622A33}"/>
                  </a:ext>
                </a:extLst>
              </p:cNvPr>
              <p:cNvSpPr/>
              <p:nvPr/>
            </p:nvSpPr>
            <p:spPr>
              <a:xfrm rot="18900000">
                <a:off x="307523" y="3482187"/>
                <a:ext cx="264149" cy="264149"/>
              </a:xfrm>
              <a:custGeom>
                <a:avLst/>
                <a:gdLst>
                  <a:gd name="connsiteX0" fmla="*/ 0 w 264149"/>
                  <a:gd name="connsiteY0" fmla="*/ 0 h 264149"/>
                  <a:gd name="connsiteX1" fmla="*/ 264149 w 264149"/>
                  <a:gd name="connsiteY1" fmla="*/ 0 h 264149"/>
                  <a:gd name="connsiteX2" fmla="*/ 264149 w 264149"/>
                  <a:gd name="connsiteY2" fmla="*/ 264149 h 264149"/>
                  <a:gd name="connsiteX3" fmla="*/ 0 w 264149"/>
                  <a:gd name="connsiteY3" fmla="*/ 264149 h 2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149" h="264149">
                    <a:moveTo>
                      <a:pt x="0" y="0"/>
                    </a:moveTo>
                    <a:lnTo>
                      <a:pt x="264149" y="0"/>
                    </a:lnTo>
                    <a:lnTo>
                      <a:pt x="264149" y="264149"/>
                    </a:lnTo>
                    <a:lnTo>
                      <a:pt x="0" y="264149"/>
                    </a:lnTo>
                    <a:close/>
                  </a:path>
                </a:pathLst>
              </a:custGeom>
              <a:solidFill>
                <a:schemeClr val="bg1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85861C4-AFAC-41D0-A9CC-75CBDD24984B}"/>
                </a:ext>
              </a:extLst>
            </p:cNvPr>
            <p:cNvSpPr/>
            <p:nvPr userDrawn="1"/>
          </p:nvSpPr>
          <p:spPr>
            <a:xfrm rot="2427733" flipH="1">
              <a:off x="-660564" y="5972800"/>
              <a:ext cx="2333104" cy="1151948"/>
            </a:xfrm>
            <a:custGeom>
              <a:avLst/>
              <a:gdLst>
                <a:gd name="connsiteX0" fmla="*/ 5953001 w 5953001"/>
                <a:gd name="connsiteY0" fmla="*/ 0 h 2939238"/>
                <a:gd name="connsiteX1" fmla="*/ 3446004 w 5953001"/>
                <a:gd name="connsiteY1" fmla="*/ 2939238 h 2939238"/>
                <a:gd name="connsiteX2" fmla="*/ 0 w 5953001"/>
                <a:gd name="connsiteY2" fmla="*/ 0 h 293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53001" h="2939238">
                  <a:moveTo>
                    <a:pt x="5953001" y="0"/>
                  </a:moveTo>
                  <a:lnTo>
                    <a:pt x="3446004" y="29392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571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729110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769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</p:spPr>
        <p:txBody>
          <a:bodyPr wrap="square">
            <a:spAutoFit/>
          </a:bodyPr>
          <a:lstStyle>
            <a:lvl1pPr>
              <a:defRPr sz="1200">
                <a:solidFill>
                  <a:srgbClr val="B3B3B3"/>
                </a:solidFill>
              </a:defRPr>
            </a:lvl1pPr>
          </a:lstStyle>
          <a:p>
            <a:r>
              <a:rPr lang="en-US" dirty="0"/>
              <a:t>Date or other info here – inter, 12p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 here – Inter semibold, 16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C9CE9EF-100C-481F-808F-836D2FB1C41E}"/>
              </a:ext>
            </a:extLst>
          </p:cNvPr>
          <p:cNvSpPr/>
          <p:nvPr userDrawn="1"/>
        </p:nvSpPr>
        <p:spPr>
          <a:xfrm rot="2700000" flipH="1">
            <a:off x="9786516" y="993182"/>
            <a:ext cx="4810967" cy="4810967"/>
          </a:xfrm>
          <a:custGeom>
            <a:avLst/>
            <a:gdLst>
              <a:gd name="connsiteX0" fmla="*/ 4810967 w 4810967"/>
              <a:gd name="connsiteY0" fmla="*/ 0 h 4810967"/>
              <a:gd name="connsiteX1" fmla="*/ 0 w 4810967"/>
              <a:gd name="connsiteY1" fmla="*/ 4810967 h 4810967"/>
              <a:gd name="connsiteX2" fmla="*/ 4810967 w 4810967"/>
              <a:gd name="connsiteY2" fmla="*/ 4810967 h 4810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10967" h="4810967">
                <a:moveTo>
                  <a:pt x="4810967" y="0"/>
                </a:moveTo>
                <a:lnTo>
                  <a:pt x="0" y="4810967"/>
                </a:lnTo>
                <a:lnTo>
                  <a:pt x="4810967" y="4810967"/>
                </a:lnTo>
                <a:close/>
              </a:path>
            </a:pathLst>
          </a:custGeom>
          <a:solidFill>
            <a:srgbClr val="332800"/>
          </a:solidFill>
          <a:ln w="1831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E98A4A1-D361-42AB-B2D5-B4878476C2BA}"/>
              </a:ext>
            </a:extLst>
          </p:cNvPr>
          <p:cNvSpPr/>
          <p:nvPr userDrawn="1"/>
        </p:nvSpPr>
        <p:spPr>
          <a:xfrm rot="2700000" flipH="1">
            <a:off x="8842515" y="1320554"/>
            <a:ext cx="4155881" cy="4155881"/>
          </a:xfrm>
          <a:custGeom>
            <a:avLst/>
            <a:gdLst>
              <a:gd name="connsiteX0" fmla="*/ 4155881 w 4155881"/>
              <a:gd name="connsiteY0" fmla="*/ 0 h 4155881"/>
              <a:gd name="connsiteX1" fmla="*/ 2357644 w 4155881"/>
              <a:gd name="connsiteY1" fmla="*/ 0 h 4155881"/>
              <a:gd name="connsiteX2" fmla="*/ 0 w 4155881"/>
              <a:gd name="connsiteY2" fmla="*/ 2357644 h 4155881"/>
              <a:gd name="connsiteX3" fmla="*/ 0 w 4155881"/>
              <a:gd name="connsiteY3" fmla="*/ 4155881 h 4155881"/>
              <a:gd name="connsiteX4" fmla="*/ 4155880 w 4155881"/>
              <a:gd name="connsiteY4" fmla="*/ 4155881 h 415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5881" h="4155881">
                <a:moveTo>
                  <a:pt x="4155881" y="0"/>
                </a:moveTo>
                <a:lnTo>
                  <a:pt x="2357644" y="0"/>
                </a:lnTo>
                <a:lnTo>
                  <a:pt x="0" y="2357644"/>
                </a:lnTo>
                <a:lnTo>
                  <a:pt x="0" y="4155881"/>
                </a:lnTo>
                <a:lnTo>
                  <a:pt x="4155880" y="4155881"/>
                </a:lnTo>
                <a:close/>
              </a:path>
            </a:pathLst>
          </a:custGeom>
          <a:solidFill>
            <a:srgbClr val="665000"/>
          </a:solidFill>
          <a:ln w="18317" cap="flat">
            <a:noFill/>
            <a:prstDash val="solid"/>
            <a:miter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D28B774-144F-4921-A942-12591551F300}"/>
              </a:ext>
            </a:extLst>
          </p:cNvPr>
          <p:cNvSpPr/>
          <p:nvPr userDrawn="1"/>
        </p:nvSpPr>
        <p:spPr>
          <a:xfrm rot="2700000" flipH="1">
            <a:off x="8045989" y="1681266"/>
            <a:ext cx="3434669" cy="3434669"/>
          </a:xfrm>
          <a:custGeom>
            <a:avLst/>
            <a:gdLst>
              <a:gd name="connsiteX0" fmla="*/ 0 w 2258559"/>
              <a:gd name="connsiteY0" fmla="*/ 0 h 2258559"/>
              <a:gd name="connsiteX1" fmla="*/ 2258559 w 2258559"/>
              <a:gd name="connsiteY1" fmla="*/ 0 h 2258559"/>
              <a:gd name="connsiteX2" fmla="*/ 2258559 w 2258559"/>
              <a:gd name="connsiteY2" fmla="*/ 2258559 h 2258559"/>
              <a:gd name="connsiteX3" fmla="*/ 0 w 2258559"/>
              <a:gd name="connsiteY3" fmla="*/ 2258559 h 2258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58559" h="2258559">
                <a:moveTo>
                  <a:pt x="0" y="0"/>
                </a:moveTo>
                <a:lnTo>
                  <a:pt x="2258559" y="0"/>
                </a:lnTo>
                <a:lnTo>
                  <a:pt x="2258559" y="2258559"/>
                </a:lnTo>
                <a:lnTo>
                  <a:pt x="0" y="2258559"/>
                </a:lnTo>
                <a:close/>
              </a:path>
            </a:pathLst>
          </a:custGeom>
          <a:solidFill>
            <a:srgbClr val="997900"/>
          </a:solidFill>
          <a:ln w="183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78E138E-015C-4425-B0D0-DB1D63F035A7}"/>
              </a:ext>
            </a:extLst>
          </p:cNvPr>
          <p:cNvSpPr/>
          <p:nvPr userDrawn="1"/>
        </p:nvSpPr>
        <p:spPr>
          <a:xfrm rot="2700000" flipH="1">
            <a:off x="7415018" y="2041840"/>
            <a:ext cx="2713736" cy="2713738"/>
          </a:xfrm>
          <a:custGeom>
            <a:avLst/>
            <a:gdLst>
              <a:gd name="connsiteX0" fmla="*/ 0 w 1784490"/>
              <a:gd name="connsiteY0" fmla="*/ 0 h 1784491"/>
              <a:gd name="connsiteX1" fmla="*/ 1784491 w 1784490"/>
              <a:gd name="connsiteY1" fmla="*/ 0 h 1784491"/>
              <a:gd name="connsiteX2" fmla="*/ 1784491 w 1784490"/>
              <a:gd name="connsiteY2" fmla="*/ 1784491 h 1784491"/>
              <a:gd name="connsiteX3" fmla="*/ 0 w 1784490"/>
              <a:gd name="connsiteY3" fmla="*/ 1784491 h 1784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4490" h="1784491">
                <a:moveTo>
                  <a:pt x="0" y="0"/>
                </a:moveTo>
                <a:lnTo>
                  <a:pt x="1784491" y="0"/>
                </a:lnTo>
                <a:lnTo>
                  <a:pt x="1784491" y="1784491"/>
                </a:lnTo>
                <a:lnTo>
                  <a:pt x="0" y="1784491"/>
                </a:lnTo>
                <a:close/>
              </a:path>
            </a:pathLst>
          </a:custGeom>
          <a:solidFill>
            <a:srgbClr val="CCA100"/>
          </a:solidFill>
          <a:ln w="183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DD3E593-65EE-4F07-B918-D9793B5603D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3811" y="405498"/>
            <a:ext cx="942915" cy="325431"/>
          </a:xfrm>
          <a:prstGeom prst="rect">
            <a:avLst/>
          </a:prstGeom>
        </p:spPr>
      </p:pic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051DC79-60CF-41E2-AFFC-5F015A355A6B}"/>
              </a:ext>
            </a:extLst>
          </p:cNvPr>
          <p:cNvSpPr/>
          <p:nvPr userDrawn="1"/>
        </p:nvSpPr>
        <p:spPr>
          <a:xfrm rot="2700000" flipH="1">
            <a:off x="6868800" y="2402274"/>
            <a:ext cx="1992526" cy="1992526"/>
          </a:xfrm>
          <a:custGeom>
            <a:avLst/>
            <a:gdLst>
              <a:gd name="connsiteX0" fmla="*/ 0 w 1310239"/>
              <a:gd name="connsiteY0" fmla="*/ 0 h 1310239"/>
              <a:gd name="connsiteX1" fmla="*/ 1310240 w 1310239"/>
              <a:gd name="connsiteY1" fmla="*/ 0 h 1310239"/>
              <a:gd name="connsiteX2" fmla="*/ 1310240 w 1310239"/>
              <a:gd name="connsiteY2" fmla="*/ 1310239 h 1310239"/>
              <a:gd name="connsiteX3" fmla="*/ 0 w 1310239"/>
              <a:gd name="connsiteY3" fmla="*/ 1310239 h 1310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0239" h="1310239">
                <a:moveTo>
                  <a:pt x="0" y="0"/>
                </a:moveTo>
                <a:lnTo>
                  <a:pt x="1310240" y="0"/>
                </a:lnTo>
                <a:lnTo>
                  <a:pt x="1310240" y="1310239"/>
                </a:lnTo>
                <a:lnTo>
                  <a:pt x="0" y="1310239"/>
                </a:lnTo>
                <a:close/>
              </a:path>
            </a:pathLst>
          </a:custGeom>
          <a:solidFill>
            <a:srgbClr val="FFC900"/>
          </a:solidFill>
          <a:ln w="183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56674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131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</p:spPr>
        <p:txBody>
          <a:bodyPr wrap="square">
            <a:spAutoFit/>
          </a:bodyPr>
          <a:lstStyle>
            <a:lvl1pPr>
              <a:defRPr sz="1200">
                <a:solidFill>
                  <a:srgbClr val="B3B3B3"/>
                </a:solidFill>
              </a:defRPr>
            </a:lvl1pPr>
          </a:lstStyle>
          <a:p>
            <a:r>
              <a:rPr lang="en-US" dirty="0"/>
              <a:t>Date or other info here – inter, 12p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 here – Inter semibold, 16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43D207B-C17E-4FC6-B024-162367472E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89580" y="0"/>
            <a:ext cx="2002420" cy="200242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9534CE2-B57A-44AC-83A1-C062CA40E61B}"/>
              </a:ext>
            </a:extLst>
          </p:cNvPr>
          <p:cNvPicPr>
            <a:picLocks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8900000">
            <a:off x="6944408" y="866415"/>
            <a:ext cx="4183415" cy="418341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4350382-B984-46E6-9022-61C414F50549}"/>
              </a:ext>
            </a:extLst>
          </p:cNvPr>
          <p:cNvGrpSpPr/>
          <p:nvPr userDrawn="1"/>
        </p:nvGrpSpPr>
        <p:grpSpPr>
          <a:xfrm>
            <a:off x="9267175" y="3219804"/>
            <a:ext cx="2924827" cy="3638197"/>
            <a:chOff x="9267175" y="3219804"/>
            <a:chExt cx="2924827" cy="3638197"/>
          </a:xfrm>
          <a:solidFill>
            <a:schemeClr val="bg1">
              <a:lumMod val="75000"/>
              <a:lumOff val="25000"/>
            </a:schemeClr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5B80DA7-E3EC-47D1-A206-5EB9CD7CE644}"/>
                </a:ext>
              </a:extLst>
            </p:cNvPr>
            <p:cNvSpPr/>
            <p:nvPr/>
          </p:nvSpPr>
          <p:spPr>
            <a:xfrm>
              <a:off x="11970841" y="3219804"/>
              <a:ext cx="221161" cy="442323"/>
            </a:xfrm>
            <a:custGeom>
              <a:avLst/>
              <a:gdLst>
                <a:gd name="connsiteX0" fmla="*/ 221161 w 221161"/>
                <a:gd name="connsiteY0" fmla="*/ 0 h 442323"/>
                <a:gd name="connsiteX1" fmla="*/ 221161 w 221161"/>
                <a:gd name="connsiteY1" fmla="*/ 442323 h 442323"/>
                <a:gd name="connsiteX2" fmla="*/ 0 w 221161"/>
                <a:gd name="connsiteY2" fmla="*/ 221162 h 442323"/>
                <a:gd name="connsiteX3" fmla="*/ 221161 w 221161"/>
                <a:gd name="connsiteY3" fmla="*/ 0 h 442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161" h="442323">
                  <a:moveTo>
                    <a:pt x="221161" y="0"/>
                  </a:moveTo>
                  <a:lnTo>
                    <a:pt x="221161" y="442323"/>
                  </a:lnTo>
                  <a:lnTo>
                    <a:pt x="0" y="221162"/>
                  </a:lnTo>
                  <a:lnTo>
                    <a:pt x="221161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43C2072-9010-4CF1-AD3B-99AEF88DCF37}"/>
                </a:ext>
              </a:extLst>
            </p:cNvPr>
            <p:cNvSpPr/>
            <p:nvPr/>
          </p:nvSpPr>
          <p:spPr>
            <a:xfrm>
              <a:off x="11520285" y="3662125"/>
              <a:ext cx="671717" cy="901113"/>
            </a:xfrm>
            <a:custGeom>
              <a:avLst/>
              <a:gdLst>
                <a:gd name="connsiteX0" fmla="*/ 229395 w 671717"/>
                <a:gd name="connsiteY0" fmla="*/ 0 h 901113"/>
                <a:gd name="connsiteX1" fmla="*/ 671717 w 671717"/>
                <a:gd name="connsiteY1" fmla="*/ 442322 h 901113"/>
                <a:gd name="connsiteX2" fmla="*/ 671717 w 671717"/>
                <a:gd name="connsiteY2" fmla="*/ 901113 h 901113"/>
                <a:gd name="connsiteX3" fmla="*/ 0 w 671717"/>
                <a:gd name="connsiteY3" fmla="*/ 229396 h 901113"/>
                <a:gd name="connsiteX4" fmla="*/ 229395 w 671717"/>
                <a:gd name="connsiteY4" fmla="*/ 0 h 90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717" h="901113">
                  <a:moveTo>
                    <a:pt x="229395" y="0"/>
                  </a:moveTo>
                  <a:lnTo>
                    <a:pt x="671717" y="442322"/>
                  </a:lnTo>
                  <a:lnTo>
                    <a:pt x="671717" y="901113"/>
                  </a:lnTo>
                  <a:lnTo>
                    <a:pt x="0" y="229396"/>
                  </a:lnTo>
                  <a:lnTo>
                    <a:pt x="229395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FD515D6-B744-42A0-9A35-AA860833EA0D}"/>
                </a:ext>
              </a:extLst>
            </p:cNvPr>
            <p:cNvSpPr/>
            <p:nvPr/>
          </p:nvSpPr>
          <p:spPr>
            <a:xfrm>
              <a:off x="11069565" y="4112847"/>
              <a:ext cx="1122437" cy="1351833"/>
            </a:xfrm>
            <a:custGeom>
              <a:avLst/>
              <a:gdLst>
                <a:gd name="connsiteX0" fmla="*/ 229394 w 1122437"/>
                <a:gd name="connsiteY0" fmla="*/ 0 h 1351833"/>
                <a:gd name="connsiteX1" fmla="*/ 1122437 w 1122437"/>
                <a:gd name="connsiteY1" fmla="*/ 893043 h 1351833"/>
                <a:gd name="connsiteX2" fmla="*/ 1122437 w 1122437"/>
                <a:gd name="connsiteY2" fmla="*/ 1351833 h 1351833"/>
                <a:gd name="connsiteX3" fmla="*/ 0 w 1122437"/>
                <a:gd name="connsiteY3" fmla="*/ 229395 h 1351833"/>
                <a:gd name="connsiteX4" fmla="*/ 229394 w 1122437"/>
                <a:gd name="connsiteY4" fmla="*/ 0 h 1351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437" h="1351833">
                  <a:moveTo>
                    <a:pt x="229394" y="0"/>
                  </a:moveTo>
                  <a:lnTo>
                    <a:pt x="1122437" y="893043"/>
                  </a:lnTo>
                  <a:lnTo>
                    <a:pt x="1122437" y="1351833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1BAF4B8-0D95-4EF8-8878-4F5D63D92B67}"/>
                </a:ext>
              </a:extLst>
            </p:cNvPr>
            <p:cNvSpPr/>
            <p:nvPr/>
          </p:nvSpPr>
          <p:spPr>
            <a:xfrm>
              <a:off x="10619009" y="4563402"/>
              <a:ext cx="1572993" cy="1802389"/>
            </a:xfrm>
            <a:custGeom>
              <a:avLst/>
              <a:gdLst>
                <a:gd name="connsiteX0" fmla="*/ 229394 w 1572993"/>
                <a:gd name="connsiteY0" fmla="*/ 0 h 1802389"/>
                <a:gd name="connsiteX1" fmla="*/ 1572993 w 1572993"/>
                <a:gd name="connsiteY1" fmla="*/ 1343599 h 1802389"/>
                <a:gd name="connsiteX2" fmla="*/ 1572993 w 1572993"/>
                <a:gd name="connsiteY2" fmla="*/ 1802389 h 1802389"/>
                <a:gd name="connsiteX3" fmla="*/ 0 w 1572993"/>
                <a:gd name="connsiteY3" fmla="*/ 229395 h 1802389"/>
                <a:gd name="connsiteX4" fmla="*/ 229394 w 1572993"/>
                <a:gd name="connsiteY4" fmla="*/ 0 h 180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2993" h="1802389">
                  <a:moveTo>
                    <a:pt x="229394" y="0"/>
                  </a:moveTo>
                  <a:lnTo>
                    <a:pt x="1572993" y="1343599"/>
                  </a:lnTo>
                  <a:lnTo>
                    <a:pt x="1572993" y="1802389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BF3852E-87C9-484C-8CF4-7ECCA107C7AE}"/>
                </a:ext>
              </a:extLst>
            </p:cNvPr>
            <p:cNvSpPr/>
            <p:nvPr/>
          </p:nvSpPr>
          <p:spPr>
            <a:xfrm>
              <a:off x="10168453" y="5013958"/>
              <a:ext cx="2023549" cy="1844042"/>
            </a:xfrm>
            <a:custGeom>
              <a:avLst/>
              <a:gdLst>
                <a:gd name="connsiteX0" fmla="*/ 229394 w 2023549"/>
                <a:gd name="connsiteY0" fmla="*/ 0 h 1844042"/>
                <a:gd name="connsiteX1" fmla="*/ 2023549 w 2023549"/>
                <a:gd name="connsiteY1" fmla="*/ 1794155 h 1844042"/>
                <a:gd name="connsiteX2" fmla="*/ 2023549 w 2023549"/>
                <a:gd name="connsiteY2" fmla="*/ 1844042 h 1844042"/>
                <a:gd name="connsiteX3" fmla="*/ 1614646 w 2023549"/>
                <a:gd name="connsiteY3" fmla="*/ 1844042 h 1844042"/>
                <a:gd name="connsiteX4" fmla="*/ 0 w 2023549"/>
                <a:gd name="connsiteY4" fmla="*/ 229395 h 1844042"/>
                <a:gd name="connsiteX5" fmla="*/ 229394 w 2023549"/>
                <a:gd name="connsiteY5" fmla="*/ 0 h 184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3549" h="1844042">
                  <a:moveTo>
                    <a:pt x="229394" y="0"/>
                  </a:moveTo>
                  <a:lnTo>
                    <a:pt x="2023549" y="1794155"/>
                  </a:lnTo>
                  <a:lnTo>
                    <a:pt x="2023549" y="1844042"/>
                  </a:lnTo>
                  <a:lnTo>
                    <a:pt x="1614646" y="1844042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4418FB1-39B7-427D-96E7-B231DDEDEF1E}"/>
                </a:ext>
              </a:extLst>
            </p:cNvPr>
            <p:cNvSpPr/>
            <p:nvPr/>
          </p:nvSpPr>
          <p:spPr>
            <a:xfrm>
              <a:off x="9717731" y="5464678"/>
              <a:ext cx="1622717" cy="1393322"/>
            </a:xfrm>
            <a:custGeom>
              <a:avLst/>
              <a:gdLst>
                <a:gd name="connsiteX0" fmla="*/ 229395 w 1622717"/>
                <a:gd name="connsiteY0" fmla="*/ 0 h 1393322"/>
                <a:gd name="connsiteX1" fmla="*/ 1622717 w 1622717"/>
                <a:gd name="connsiteY1" fmla="*/ 1393322 h 1393322"/>
                <a:gd name="connsiteX2" fmla="*/ 1163926 w 1622717"/>
                <a:gd name="connsiteY2" fmla="*/ 1393322 h 1393322"/>
                <a:gd name="connsiteX3" fmla="*/ 0 w 1622717"/>
                <a:gd name="connsiteY3" fmla="*/ 229396 h 1393322"/>
                <a:gd name="connsiteX4" fmla="*/ 229395 w 1622717"/>
                <a:gd name="connsiteY4" fmla="*/ 0 h 139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2717" h="1393322">
                  <a:moveTo>
                    <a:pt x="229395" y="0"/>
                  </a:moveTo>
                  <a:lnTo>
                    <a:pt x="1622717" y="1393322"/>
                  </a:lnTo>
                  <a:lnTo>
                    <a:pt x="1163926" y="1393322"/>
                  </a:lnTo>
                  <a:lnTo>
                    <a:pt x="0" y="229396"/>
                  </a:lnTo>
                  <a:lnTo>
                    <a:pt x="229395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46108C0-FB80-40B7-B2C2-54922AA78150}"/>
                </a:ext>
              </a:extLst>
            </p:cNvPr>
            <p:cNvSpPr/>
            <p:nvPr/>
          </p:nvSpPr>
          <p:spPr>
            <a:xfrm>
              <a:off x="9267175" y="5915236"/>
              <a:ext cx="1172159" cy="942765"/>
            </a:xfrm>
            <a:custGeom>
              <a:avLst/>
              <a:gdLst>
                <a:gd name="connsiteX0" fmla="*/ 229394 w 1172159"/>
                <a:gd name="connsiteY0" fmla="*/ 0 h 942765"/>
                <a:gd name="connsiteX1" fmla="*/ 1172159 w 1172159"/>
                <a:gd name="connsiteY1" fmla="*/ 942765 h 942765"/>
                <a:gd name="connsiteX2" fmla="*/ 713370 w 1172159"/>
                <a:gd name="connsiteY2" fmla="*/ 942765 h 942765"/>
                <a:gd name="connsiteX3" fmla="*/ 0 w 1172159"/>
                <a:gd name="connsiteY3" fmla="*/ 229395 h 942765"/>
                <a:gd name="connsiteX4" fmla="*/ 229394 w 1172159"/>
                <a:gd name="connsiteY4" fmla="*/ 0 h 94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2159" h="942765">
                  <a:moveTo>
                    <a:pt x="229394" y="0"/>
                  </a:moveTo>
                  <a:lnTo>
                    <a:pt x="1172159" y="942765"/>
                  </a:lnTo>
                  <a:lnTo>
                    <a:pt x="713370" y="942765"/>
                  </a:lnTo>
                  <a:lnTo>
                    <a:pt x="0" y="229395"/>
                  </a:lnTo>
                  <a:lnTo>
                    <a:pt x="229394" y="0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78F6257F-D774-4C30-9FB1-C38774B9C1A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43811" y="405498"/>
            <a:ext cx="942915" cy="325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ayou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6610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2">
                    <a:lumMod val="50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200" dirty="0">
                <a:solidFill>
                  <a:srgbClr val="7F7F7F"/>
                </a:solidFill>
              </a:defRPr>
            </a:lvl1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GB" altLang="zh-CN">
                <a:latin typeface="Inter SemiBold" panose="02000503000000020004" pitchFamily="2" charset="0"/>
                <a:ea typeface="Inter SemiBold" panose="02000503000000020004" pitchFamily="2" charset="0"/>
              </a:rPr>
              <a:t>Click to edit Master subtitle style</a:t>
            </a:r>
            <a:endParaRPr lang="en-US" dirty="0">
              <a:latin typeface="Inter SemiBold" panose="02000503000000020004" pitchFamily="2" charset="0"/>
              <a:ea typeface="Inter SemiBold" panose="02000503000000020004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35D779EE-407F-4098-BA1E-E3FE6E0407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17502" y="5560482"/>
            <a:ext cx="1281746" cy="128174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8FF28682-57F3-41C1-B578-1063DA141F08}"/>
              </a:ext>
            </a:extLst>
          </p:cNvPr>
          <p:cNvSpPr/>
          <p:nvPr/>
        </p:nvSpPr>
        <p:spPr>
          <a:xfrm>
            <a:off x="7962847" y="5557393"/>
            <a:ext cx="1675764" cy="128483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4B593998-B041-4909-8864-F8924BAA8E1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24707" b="24762"/>
          <a:stretch/>
        </p:blipFill>
        <p:spPr>
          <a:xfrm>
            <a:off x="10269189" y="4936596"/>
            <a:ext cx="1922812" cy="1921404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69A3E3A-12B6-431F-99DD-8A478B877B43}"/>
              </a:ext>
            </a:extLst>
          </p:cNvPr>
          <p:cNvSpPr/>
          <p:nvPr/>
        </p:nvSpPr>
        <p:spPr>
          <a:xfrm rot="2700000" flipH="1">
            <a:off x="6834062" y="5735995"/>
            <a:ext cx="927022" cy="927022"/>
          </a:xfrm>
          <a:prstGeom prst="rect">
            <a:avLst/>
          </a:pr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2ED1220-3486-4A9B-B732-F28DBBAB5AC7}"/>
              </a:ext>
            </a:extLst>
          </p:cNvPr>
          <p:cNvSpPr>
            <a:spLocks/>
          </p:cNvSpPr>
          <p:nvPr/>
        </p:nvSpPr>
        <p:spPr>
          <a:xfrm>
            <a:off x="6642069" y="-1744"/>
            <a:ext cx="5545149" cy="5545149"/>
          </a:xfrm>
          <a:custGeom>
            <a:avLst/>
            <a:gdLst>
              <a:gd name="connsiteX0" fmla="*/ 6187440 w 6187440"/>
              <a:gd name="connsiteY0" fmla="*/ 3093720 h 6187440"/>
              <a:gd name="connsiteX1" fmla="*/ 6187440 w 6187440"/>
              <a:gd name="connsiteY1" fmla="*/ 6187440 h 6187440"/>
              <a:gd name="connsiteX2" fmla="*/ 3093720 w 6187440"/>
              <a:gd name="connsiteY2" fmla="*/ 6187440 h 6187440"/>
              <a:gd name="connsiteX3" fmla="*/ 6187440 w 6187440"/>
              <a:gd name="connsiteY3" fmla="*/ 3093720 h 6187440"/>
              <a:gd name="connsiteX4" fmla="*/ 0 w 6187440"/>
              <a:gd name="connsiteY4" fmla="*/ 3093720 h 6187440"/>
              <a:gd name="connsiteX5" fmla="*/ 3093720 w 6187440"/>
              <a:gd name="connsiteY5" fmla="*/ 6187440 h 6187440"/>
              <a:gd name="connsiteX6" fmla="*/ 0 w 6187440"/>
              <a:gd name="connsiteY6" fmla="*/ 6187440 h 6187440"/>
              <a:gd name="connsiteX7" fmla="*/ 3093720 w 6187440"/>
              <a:gd name="connsiteY7" fmla="*/ 0 h 6187440"/>
              <a:gd name="connsiteX8" fmla="*/ 6187440 w 6187440"/>
              <a:gd name="connsiteY8" fmla="*/ 0 h 6187440"/>
              <a:gd name="connsiteX9" fmla="*/ 6187440 w 6187440"/>
              <a:gd name="connsiteY9" fmla="*/ 3093720 h 6187440"/>
              <a:gd name="connsiteX10" fmla="*/ 3093720 w 6187440"/>
              <a:gd name="connsiteY10" fmla="*/ 0 h 6187440"/>
              <a:gd name="connsiteX11" fmla="*/ 0 w 6187440"/>
              <a:gd name="connsiteY11" fmla="*/ 0 h 6187440"/>
              <a:gd name="connsiteX12" fmla="*/ 3093720 w 6187440"/>
              <a:gd name="connsiteY12" fmla="*/ 0 h 6187440"/>
              <a:gd name="connsiteX13" fmla="*/ 0 w 6187440"/>
              <a:gd name="connsiteY13" fmla="*/ 3093720 h 618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87440" h="6187440">
                <a:moveTo>
                  <a:pt x="6187440" y="3093720"/>
                </a:moveTo>
                <a:lnTo>
                  <a:pt x="6187440" y="6187440"/>
                </a:lnTo>
                <a:lnTo>
                  <a:pt x="3093720" y="6187440"/>
                </a:lnTo>
                <a:cubicBezTo>
                  <a:pt x="4802334" y="6187440"/>
                  <a:pt x="6187440" y="4802334"/>
                  <a:pt x="6187440" y="3093720"/>
                </a:cubicBezTo>
                <a:close/>
                <a:moveTo>
                  <a:pt x="0" y="3093720"/>
                </a:moveTo>
                <a:cubicBezTo>
                  <a:pt x="0" y="4802334"/>
                  <a:pt x="1385106" y="6187440"/>
                  <a:pt x="3093720" y="6187440"/>
                </a:cubicBezTo>
                <a:lnTo>
                  <a:pt x="0" y="6187440"/>
                </a:lnTo>
                <a:close/>
                <a:moveTo>
                  <a:pt x="3093720" y="0"/>
                </a:moveTo>
                <a:lnTo>
                  <a:pt x="6187440" y="0"/>
                </a:lnTo>
                <a:lnTo>
                  <a:pt x="6187440" y="3093720"/>
                </a:lnTo>
                <a:cubicBezTo>
                  <a:pt x="6187440" y="1385106"/>
                  <a:pt x="4802334" y="0"/>
                  <a:pt x="3093720" y="0"/>
                </a:cubicBezTo>
                <a:close/>
                <a:moveTo>
                  <a:pt x="0" y="0"/>
                </a:moveTo>
                <a:lnTo>
                  <a:pt x="3093720" y="0"/>
                </a:lnTo>
                <a:cubicBezTo>
                  <a:pt x="1385106" y="0"/>
                  <a:pt x="0" y="1385106"/>
                  <a:pt x="0" y="309372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279ADB8-3FAD-4E99-A1E4-D902C6E09671}"/>
              </a:ext>
            </a:extLst>
          </p:cNvPr>
          <p:cNvSpPr>
            <a:spLocks/>
          </p:cNvSpPr>
          <p:nvPr/>
        </p:nvSpPr>
        <p:spPr>
          <a:xfrm rot="16200000">
            <a:off x="9328856" y="234"/>
            <a:ext cx="2865120" cy="2861165"/>
          </a:xfrm>
          <a:custGeom>
            <a:avLst/>
            <a:gdLst>
              <a:gd name="connsiteX0" fmla="*/ 0 w 2865120"/>
              <a:gd name="connsiteY0" fmla="*/ 2856492 h 2861165"/>
              <a:gd name="connsiteX1" fmla="*/ 92546 w 2865120"/>
              <a:gd name="connsiteY1" fmla="*/ 2861165 h 2861165"/>
              <a:gd name="connsiteX2" fmla="*/ 0 w 2865120"/>
              <a:gd name="connsiteY2" fmla="*/ 2861165 h 2861165"/>
              <a:gd name="connsiteX3" fmla="*/ 2865120 w 2865120"/>
              <a:gd name="connsiteY3" fmla="*/ 88591 h 2861165"/>
              <a:gd name="connsiteX4" fmla="*/ 2865120 w 2865120"/>
              <a:gd name="connsiteY4" fmla="*/ 2861165 h 2861165"/>
              <a:gd name="connsiteX5" fmla="*/ 92546 w 2865120"/>
              <a:gd name="connsiteY5" fmla="*/ 2861165 h 2861165"/>
              <a:gd name="connsiteX6" fmla="*/ 2865120 w 2865120"/>
              <a:gd name="connsiteY6" fmla="*/ 88591 h 2861165"/>
              <a:gd name="connsiteX7" fmla="*/ 2860646 w 2865120"/>
              <a:gd name="connsiteY7" fmla="*/ 0 h 2861165"/>
              <a:gd name="connsiteX8" fmla="*/ 2865120 w 2865120"/>
              <a:gd name="connsiteY8" fmla="*/ 0 h 2861165"/>
              <a:gd name="connsiteX9" fmla="*/ 2865120 w 2865120"/>
              <a:gd name="connsiteY9" fmla="*/ 88591 h 28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65120" h="2861165">
                <a:moveTo>
                  <a:pt x="0" y="2856492"/>
                </a:moveTo>
                <a:lnTo>
                  <a:pt x="92546" y="2861165"/>
                </a:lnTo>
                <a:lnTo>
                  <a:pt x="0" y="2861165"/>
                </a:lnTo>
                <a:close/>
                <a:moveTo>
                  <a:pt x="2865120" y="88591"/>
                </a:moveTo>
                <a:lnTo>
                  <a:pt x="2865120" y="2861165"/>
                </a:lnTo>
                <a:lnTo>
                  <a:pt x="92546" y="2861165"/>
                </a:lnTo>
                <a:cubicBezTo>
                  <a:pt x="1623796" y="2861165"/>
                  <a:pt x="2865120" y="1619841"/>
                  <a:pt x="2865120" y="88591"/>
                </a:cubicBezTo>
                <a:close/>
                <a:moveTo>
                  <a:pt x="2860646" y="0"/>
                </a:moveTo>
                <a:lnTo>
                  <a:pt x="2865120" y="0"/>
                </a:lnTo>
                <a:lnTo>
                  <a:pt x="2865120" y="88591"/>
                </a:lnTo>
                <a:close/>
              </a:path>
            </a:pathLst>
          </a:cu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B51F6CA-42E2-4AFD-8535-7AC82B856EAD}"/>
              </a:ext>
            </a:extLst>
          </p:cNvPr>
          <p:cNvGrpSpPr/>
          <p:nvPr/>
        </p:nvGrpSpPr>
        <p:grpSpPr>
          <a:xfrm>
            <a:off x="543811" y="405498"/>
            <a:ext cx="942915" cy="325431"/>
            <a:chOff x="543812" y="405498"/>
            <a:chExt cx="942915" cy="325431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F449E38-A2B8-4C71-9462-65C732D71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l="31439"/>
            <a:stretch/>
          </p:blipFill>
          <p:spPr>
            <a:xfrm>
              <a:off x="840260" y="405498"/>
              <a:ext cx="646467" cy="325431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E601AB8-43B7-46E2-A68C-B3EC31D7D7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68560"/>
            <a:stretch/>
          </p:blipFill>
          <p:spPr>
            <a:xfrm>
              <a:off x="543812" y="405498"/>
              <a:ext cx="296448" cy="325431"/>
            </a:xfrm>
            <a:prstGeom prst="rect">
              <a:avLst/>
            </a:prstGeom>
          </p:spPr>
        </p:pic>
      </p:grp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508382DC-7E51-8EBA-D2F6-B9649EABC343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646851" y="-1744"/>
            <a:ext cx="5545149" cy="5545149"/>
          </a:xfrm>
          <a:prstGeom prst="ellipse">
            <a:avLst/>
          </a:prstGeom>
          <a:solidFill>
            <a:schemeClr val="tx1"/>
          </a:solidFill>
        </p:spPr>
      </p:sp>
    </p:spTree>
    <p:extLst>
      <p:ext uri="{BB962C8B-B14F-4D97-AF65-F5344CB8AC3E}">
        <p14:creationId xmlns:p14="http://schemas.microsoft.com/office/powerpoint/2010/main" val="10079849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982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EECF798F-D92B-4FBF-8FCB-91CC5B5697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</p:spPr>
        <p:txBody>
          <a:bodyPr wrap="square">
            <a:spAutoFit/>
          </a:bodyPr>
          <a:lstStyle>
            <a:lvl1pPr>
              <a:defRPr sz="1200">
                <a:solidFill>
                  <a:srgbClr val="B3B3B3"/>
                </a:solidFill>
              </a:defRPr>
            </a:lvl1pPr>
          </a:lstStyle>
          <a:p>
            <a:r>
              <a:rPr lang="en-US" dirty="0"/>
              <a:t>Date or other info here – inter, 12p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 here – Inter semibold, 16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8F6257F-D774-4C30-9FB1-C38774B9C1A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3811" y="405498"/>
            <a:ext cx="942915" cy="325431"/>
          </a:xfrm>
          <a:prstGeom prst="rect">
            <a:avLst/>
          </a:prstGeom>
        </p:spPr>
      </p:pic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76E853C-0264-4A05-8CD7-46ECE17A6878}"/>
              </a:ext>
            </a:extLst>
          </p:cNvPr>
          <p:cNvSpPr/>
          <p:nvPr userDrawn="1"/>
        </p:nvSpPr>
        <p:spPr>
          <a:xfrm>
            <a:off x="4448670" y="1"/>
            <a:ext cx="7743331" cy="4835031"/>
          </a:xfrm>
          <a:custGeom>
            <a:avLst/>
            <a:gdLst>
              <a:gd name="connsiteX0" fmla="*/ 0 w 7743331"/>
              <a:gd name="connsiteY0" fmla="*/ 0 h 4835031"/>
              <a:gd name="connsiteX1" fmla="*/ 7743331 w 7743331"/>
              <a:gd name="connsiteY1" fmla="*/ 0 h 4835031"/>
              <a:gd name="connsiteX2" fmla="*/ 7743331 w 7743331"/>
              <a:gd name="connsiteY2" fmla="*/ 1926731 h 4835031"/>
              <a:gd name="connsiteX3" fmla="*/ 4835031 w 7743331"/>
              <a:gd name="connsiteY3" fmla="*/ 4835031 h 4835031"/>
              <a:gd name="connsiteX4" fmla="*/ 0 w 7743331"/>
              <a:gd name="connsiteY4" fmla="*/ 0 h 4835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3331" h="4835031">
                <a:moveTo>
                  <a:pt x="0" y="0"/>
                </a:moveTo>
                <a:lnTo>
                  <a:pt x="7743331" y="0"/>
                </a:lnTo>
                <a:lnTo>
                  <a:pt x="7743331" y="1926731"/>
                </a:lnTo>
                <a:lnTo>
                  <a:pt x="4835031" y="4835031"/>
                </a:lnTo>
                <a:lnTo>
                  <a:pt x="0" y="0"/>
                </a:lnTo>
                <a:close/>
              </a:path>
            </a:pathLst>
          </a:cu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자유형: 도형 94">
            <a:extLst>
              <a:ext uri="{FF2B5EF4-FFF2-40B4-BE49-F238E27FC236}">
                <a16:creationId xmlns:a16="http://schemas.microsoft.com/office/drawing/2014/main" id="{87CD2BB2-5340-4407-8747-989C1A53C695}"/>
              </a:ext>
            </a:extLst>
          </p:cNvPr>
          <p:cNvSpPr/>
          <p:nvPr userDrawn="1"/>
        </p:nvSpPr>
        <p:spPr>
          <a:xfrm>
            <a:off x="9088645" y="5876946"/>
            <a:ext cx="1962110" cy="981054"/>
          </a:xfrm>
          <a:custGeom>
            <a:avLst/>
            <a:gdLst>
              <a:gd name="connsiteX0" fmla="*/ 685800 w 1371600"/>
              <a:gd name="connsiteY0" fmla="*/ 0 h 685800"/>
              <a:gd name="connsiteX1" fmla="*/ 1371600 w 1371600"/>
              <a:gd name="connsiteY1" fmla="*/ 685800 h 685800"/>
              <a:gd name="connsiteX2" fmla="*/ 0 w 1371600"/>
              <a:gd name="connsiteY2" fmla="*/ 685800 h 685800"/>
              <a:gd name="connsiteX3" fmla="*/ 685800 w 1371600"/>
              <a:gd name="connsiteY3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1600" h="685800">
                <a:moveTo>
                  <a:pt x="685800" y="0"/>
                </a:moveTo>
                <a:cubicBezTo>
                  <a:pt x="1064557" y="0"/>
                  <a:pt x="1371600" y="307043"/>
                  <a:pt x="1371600" y="685800"/>
                </a:cubicBezTo>
                <a:lnTo>
                  <a:pt x="0" y="685800"/>
                </a:lnTo>
                <a:cubicBezTo>
                  <a:pt x="0" y="307043"/>
                  <a:pt x="307043" y="0"/>
                  <a:pt x="685800" y="0"/>
                </a:cubicBezTo>
                <a:close/>
              </a:path>
            </a:pathLst>
          </a:cu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9A1F593-F910-4F02-84FA-ACF684D8F617}"/>
              </a:ext>
            </a:extLst>
          </p:cNvPr>
          <p:cNvGrpSpPr/>
          <p:nvPr userDrawn="1"/>
        </p:nvGrpSpPr>
        <p:grpSpPr>
          <a:xfrm>
            <a:off x="8663869" y="4874928"/>
            <a:ext cx="1218315" cy="1218315"/>
            <a:chOff x="7533568" y="2874092"/>
            <a:chExt cx="1218315" cy="1218315"/>
          </a:xfrm>
        </p:grpSpPr>
        <p:sp>
          <p:nvSpPr>
            <p:cNvPr id="28" name="타원 59">
              <a:extLst>
                <a:ext uri="{FF2B5EF4-FFF2-40B4-BE49-F238E27FC236}">
                  <a16:creationId xmlns:a16="http://schemas.microsoft.com/office/drawing/2014/main" id="{F110009E-D690-4646-AEBB-4B045C900412}"/>
                </a:ext>
              </a:extLst>
            </p:cNvPr>
            <p:cNvSpPr/>
            <p:nvPr/>
          </p:nvSpPr>
          <p:spPr>
            <a:xfrm>
              <a:off x="7533568" y="2874092"/>
              <a:ext cx="1218315" cy="1218315"/>
            </a:xfrm>
            <a:prstGeom prst="ellipse">
              <a:avLst/>
            </a:prstGeom>
            <a:solidFill>
              <a:schemeClr val="tx1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타원 62">
              <a:extLst>
                <a:ext uri="{FF2B5EF4-FFF2-40B4-BE49-F238E27FC236}">
                  <a16:creationId xmlns:a16="http://schemas.microsoft.com/office/drawing/2014/main" id="{F0BAF6A8-CF0D-4EBD-94B7-96F03D2CB4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13844" y="3167068"/>
              <a:ext cx="657763" cy="657763"/>
            </a:xfrm>
            <a:prstGeom prst="diamond">
              <a:avLst/>
            </a:prstGeom>
            <a:solidFill>
              <a:schemeClr val="bg1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타원 59">
            <a:extLst>
              <a:ext uri="{FF2B5EF4-FFF2-40B4-BE49-F238E27FC236}">
                <a16:creationId xmlns:a16="http://schemas.microsoft.com/office/drawing/2014/main" id="{7E05A07C-1292-47DF-A053-30B4143F678D}"/>
              </a:ext>
            </a:extLst>
          </p:cNvPr>
          <p:cNvSpPr/>
          <p:nvPr userDrawn="1"/>
        </p:nvSpPr>
        <p:spPr>
          <a:xfrm rot="2077018">
            <a:off x="8665705" y="4535031"/>
            <a:ext cx="388193" cy="388193"/>
          </a:xfrm>
          <a:prstGeom prst="rect">
            <a:avLst/>
          </a:pr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타원 77">
            <a:extLst>
              <a:ext uri="{FF2B5EF4-FFF2-40B4-BE49-F238E27FC236}">
                <a16:creationId xmlns:a16="http://schemas.microsoft.com/office/drawing/2014/main" id="{2D46356A-3C64-4669-8586-C1856B41C87A}"/>
              </a:ext>
            </a:extLst>
          </p:cNvPr>
          <p:cNvSpPr>
            <a:spLocks noChangeAspect="1"/>
          </p:cNvSpPr>
          <p:nvPr userDrawn="1"/>
        </p:nvSpPr>
        <p:spPr>
          <a:xfrm rot="2513626">
            <a:off x="9916257" y="4088060"/>
            <a:ext cx="424712" cy="424712"/>
          </a:xfrm>
          <a:prstGeom prst="diamond">
            <a:avLst/>
          </a:pr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5B00E63-D8EB-4233-92D2-176A6FA0E1A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0217992">
            <a:off x="9683634" y="4421907"/>
            <a:ext cx="1309462" cy="114694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98BCC93-74FB-4D58-A3C1-9CC29C8C9BE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9839863">
            <a:off x="10154920" y="5364479"/>
            <a:ext cx="457517" cy="457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3844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35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sclaimer-English (United States)">
            <a:extLst>
              <a:ext uri="{FF2B5EF4-FFF2-40B4-BE49-F238E27FC236}">
                <a16:creationId xmlns:a16="http://schemas.microsoft.com/office/drawing/2014/main" id="{8555A184-7A10-4FE8-A8DC-91944982C36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t>McKinsey &amp; Company is strictly prohibited</a:t>
            </a:r>
            <a:endParaRPr lang="en-US" sz="800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576DCB-F42F-4D9C-844D-D3F0F37F8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5" y="4183860"/>
            <a:ext cx="5486400" cy="184666"/>
          </a:xfrm>
        </p:spPr>
        <p:txBody>
          <a:bodyPr wrap="square">
            <a:spAutoFit/>
          </a:bodyPr>
          <a:lstStyle>
            <a:lvl1pPr>
              <a:defRPr sz="1200">
                <a:solidFill>
                  <a:srgbClr val="B3B3B3"/>
                </a:solidFill>
              </a:defRPr>
            </a:lvl1pPr>
          </a:lstStyle>
          <a:p>
            <a:r>
              <a:rPr lang="en-US" dirty="0"/>
              <a:t>Date or other info here – inter, 12p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CE59742-01CC-4900-A6ED-BA9342B0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3755973"/>
            <a:ext cx="5486400" cy="246221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 here – Inter semibold, 16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239CA4D-C0EA-4CB1-80CD-CCA0B6139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941" y="2414099"/>
            <a:ext cx="5486400" cy="1231106"/>
          </a:xfrm>
        </p:spPr>
        <p:txBody>
          <a:bodyPr vert="horz" wrap="square">
            <a:spAutoFit/>
          </a:bodyPr>
          <a:lstStyle>
            <a:lvl1pPr>
              <a:defRPr sz="4000"/>
            </a:lvl1pPr>
          </a:lstStyle>
          <a:p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Title here – </a:t>
            </a:r>
            <a:b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</a:b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8F6257F-D774-4C30-9FB1-C38774B9C1A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3811" y="405498"/>
            <a:ext cx="942915" cy="325431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35D779EE-407F-4098-BA1E-E3FE6E0407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17502" y="5560482"/>
            <a:ext cx="1281746" cy="128174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8FF28682-57F3-41C1-B578-1063DA141F08}"/>
              </a:ext>
            </a:extLst>
          </p:cNvPr>
          <p:cNvSpPr/>
          <p:nvPr/>
        </p:nvSpPr>
        <p:spPr>
          <a:xfrm>
            <a:off x="7962847" y="5557393"/>
            <a:ext cx="1675764" cy="1284834"/>
          </a:xfrm>
          <a:prstGeom prst="rect">
            <a:avLst/>
          </a:prstGeom>
          <a:solidFill>
            <a:schemeClr val="bg1">
              <a:lumMod val="85000"/>
              <a:lumOff val="1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4B593998-B041-4909-8864-F8924BAA8E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3076" t="21828" r="24707" b="24762"/>
          <a:stretch/>
        </p:blipFill>
        <p:spPr>
          <a:xfrm>
            <a:off x="10858499" y="5494020"/>
            <a:ext cx="1333501" cy="136398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69A3E3A-12B6-431F-99DD-8A478B877B43}"/>
              </a:ext>
            </a:extLst>
          </p:cNvPr>
          <p:cNvSpPr/>
          <p:nvPr/>
        </p:nvSpPr>
        <p:spPr>
          <a:xfrm rot="2700000" flipH="1">
            <a:off x="6834062" y="5735995"/>
            <a:ext cx="927022" cy="927022"/>
          </a:xfrm>
          <a:prstGeom prst="rect">
            <a:avLst/>
          </a:pr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2ED1220-3486-4A9B-B732-F28DBBAB5AC7}"/>
              </a:ext>
            </a:extLst>
          </p:cNvPr>
          <p:cNvSpPr>
            <a:spLocks/>
          </p:cNvSpPr>
          <p:nvPr/>
        </p:nvSpPr>
        <p:spPr>
          <a:xfrm>
            <a:off x="6642069" y="-1744"/>
            <a:ext cx="5545149" cy="5545149"/>
          </a:xfrm>
          <a:custGeom>
            <a:avLst/>
            <a:gdLst>
              <a:gd name="connsiteX0" fmla="*/ 6187440 w 6187440"/>
              <a:gd name="connsiteY0" fmla="*/ 3093720 h 6187440"/>
              <a:gd name="connsiteX1" fmla="*/ 6187440 w 6187440"/>
              <a:gd name="connsiteY1" fmla="*/ 6187440 h 6187440"/>
              <a:gd name="connsiteX2" fmla="*/ 3093720 w 6187440"/>
              <a:gd name="connsiteY2" fmla="*/ 6187440 h 6187440"/>
              <a:gd name="connsiteX3" fmla="*/ 6187440 w 6187440"/>
              <a:gd name="connsiteY3" fmla="*/ 3093720 h 6187440"/>
              <a:gd name="connsiteX4" fmla="*/ 0 w 6187440"/>
              <a:gd name="connsiteY4" fmla="*/ 3093720 h 6187440"/>
              <a:gd name="connsiteX5" fmla="*/ 3093720 w 6187440"/>
              <a:gd name="connsiteY5" fmla="*/ 6187440 h 6187440"/>
              <a:gd name="connsiteX6" fmla="*/ 0 w 6187440"/>
              <a:gd name="connsiteY6" fmla="*/ 6187440 h 6187440"/>
              <a:gd name="connsiteX7" fmla="*/ 3093720 w 6187440"/>
              <a:gd name="connsiteY7" fmla="*/ 0 h 6187440"/>
              <a:gd name="connsiteX8" fmla="*/ 6187440 w 6187440"/>
              <a:gd name="connsiteY8" fmla="*/ 0 h 6187440"/>
              <a:gd name="connsiteX9" fmla="*/ 6187440 w 6187440"/>
              <a:gd name="connsiteY9" fmla="*/ 3093720 h 6187440"/>
              <a:gd name="connsiteX10" fmla="*/ 3093720 w 6187440"/>
              <a:gd name="connsiteY10" fmla="*/ 0 h 6187440"/>
              <a:gd name="connsiteX11" fmla="*/ 0 w 6187440"/>
              <a:gd name="connsiteY11" fmla="*/ 0 h 6187440"/>
              <a:gd name="connsiteX12" fmla="*/ 3093720 w 6187440"/>
              <a:gd name="connsiteY12" fmla="*/ 0 h 6187440"/>
              <a:gd name="connsiteX13" fmla="*/ 0 w 6187440"/>
              <a:gd name="connsiteY13" fmla="*/ 3093720 h 618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87440" h="6187440">
                <a:moveTo>
                  <a:pt x="6187440" y="3093720"/>
                </a:moveTo>
                <a:lnTo>
                  <a:pt x="6187440" y="6187440"/>
                </a:lnTo>
                <a:lnTo>
                  <a:pt x="3093720" y="6187440"/>
                </a:lnTo>
                <a:cubicBezTo>
                  <a:pt x="4802334" y="6187440"/>
                  <a:pt x="6187440" y="4802334"/>
                  <a:pt x="6187440" y="3093720"/>
                </a:cubicBezTo>
                <a:close/>
                <a:moveTo>
                  <a:pt x="0" y="3093720"/>
                </a:moveTo>
                <a:cubicBezTo>
                  <a:pt x="0" y="4802334"/>
                  <a:pt x="1385106" y="6187440"/>
                  <a:pt x="3093720" y="6187440"/>
                </a:cubicBezTo>
                <a:lnTo>
                  <a:pt x="0" y="6187440"/>
                </a:lnTo>
                <a:close/>
                <a:moveTo>
                  <a:pt x="3093720" y="0"/>
                </a:moveTo>
                <a:lnTo>
                  <a:pt x="6187440" y="0"/>
                </a:lnTo>
                <a:lnTo>
                  <a:pt x="6187440" y="3093720"/>
                </a:lnTo>
                <a:cubicBezTo>
                  <a:pt x="6187440" y="1385106"/>
                  <a:pt x="4802334" y="0"/>
                  <a:pt x="3093720" y="0"/>
                </a:cubicBezTo>
                <a:close/>
                <a:moveTo>
                  <a:pt x="0" y="0"/>
                </a:moveTo>
                <a:lnTo>
                  <a:pt x="3093720" y="0"/>
                </a:lnTo>
                <a:cubicBezTo>
                  <a:pt x="1385106" y="0"/>
                  <a:pt x="0" y="1385106"/>
                  <a:pt x="0" y="3093720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279ADB8-3FAD-4E99-A1E4-D902C6E09671}"/>
              </a:ext>
            </a:extLst>
          </p:cNvPr>
          <p:cNvSpPr>
            <a:spLocks/>
          </p:cNvSpPr>
          <p:nvPr/>
        </p:nvSpPr>
        <p:spPr>
          <a:xfrm rot="16200000">
            <a:off x="9328856" y="234"/>
            <a:ext cx="2865120" cy="2861165"/>
          </a:xfrm>
          <a:custGeom>
            <a:avLst/>
            <a:gdLst>
              <a:gd name="connsiteX0" fmla="*/ 0 w 2865120"/>
              <a:gd name="connsiteY0" fmla="*/ 2856492 h 2861165"/>
              <a:gd name="connsiteX1" fmla="*/ 92546 w 2865120"/>
              <a:gd name="connsiteY1" fmla="*/ 2861165 h 2861165"/>
              <a:gd name="connsiteX2" fmla="*/ 0 w 2865120"/>
              <a:gd name="connsiteY2" fmla="*/ 2861165 h 2861165"/>
              <a:gd name="connsiteX3" fmla="*/ 2865120 w 2865120"/>
              <a:gd name="connsiteY3" fmla="*/ 88591 h 2861165"/>
              <a:gd name="connsiteX4" fmla="*/ 2865120 w 2865120"/>
              <a:gd name="connsiteY4" fmla="*/ 2861165 h 2861165"/>
              <a:gd name="connsiteX5" fmla="*/ 92546 w 2865120"/>
              <a:gd name="connsiteY5" fmla="*/ 2861165 h 2861165"/>
              <a:gd name="connsiteX6" fmla="*/ 2865120 w 2865120"/>
              <a:gd name="connsiteY6" fmla="*/ 88591 h 2861165"/>
              <a:gd name="connsiteX7" fmla="*/ 2860646 w 2865120"/>
              <a:gd name="connsiteY7" fmla="*/ 0 h 2861165"/>
              <a:gd name="connsiteX8" fmla="*/ 2865120 w 2865120"/>
              <a:gd name="connsiteY8" fmla="*/ 0 h 2861165"/>
              <a:gd name="connsiteX9" fmla="*/ 2865120 w 2865120"/>
              <a:gd name="connsiteY9" fmla="*/ 88591 h 28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65120" h="2861165">
                <a:moveTo>
                  <a:pt x="0" y="2856492"/>
                </a:moveTo>
                <a:lnTo>
                  <a:pt x="92546" y="2861165"/>
                </a:lnTo>
                <a:lnTo>
                  <a:pt x="0" y="2861165"/>
                </a:lnTo>
                <a:close/>
                <a:moveTo>
                  <a:pt x="2865120" y="88591"/>
                </a:moveTo>
                <a:lnTo>
                  <a:pt x="2865120" y="2861165"/>
                </a:lnTo>
                <a:lnTo>
                  <a:pt x="92546" y="2861165"/>
                </a:lnTo>
                <a:cubicBezTo>
                  <a:pt x="1623796" y="2861165"/>
                  <a:pt x="2865120" y="1619841"/>
                  <a:pt x="2865120" y="88591"/>
                </a:cubicBezTo>
                <a:close/>
                <a:moveTo>
                  <a:pt x="2860646" y="0"/>
                </a:moveTo>
                <a:lnTo>
                  <a:pt x="2865120" y="0"/>
                </a:lnTo>
                <a:lnTo>
                  <a:pt x="2865120" y="88591"/>
                </a:lnTo>
                <a:close/>
              </a:path>
            </a:pathLst>
          </a:custGeom>
          <a:solidFill>
            <a:srgbClr val="FFC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7312FE5F-78DC-E719-A39A-EC9EF05664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942" y="4984025"/>
            <a:ext cx="1901952" cy="969264"/>
          </a:xfrm>
        </p:spPr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BD8C461F-FC13-8FC5-2584-E18872627E7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646851" y="-1744"/>
            <a:ext cx="5545149" cy="5545149"/>
          </a:xfrm>
          <a:prstGeom prst="ellipse">
            <a:avLst/>
          </a:prstGeom>
          <a:solidFill>
            <a:schemeClr val="tx1"/>
          </a:solidFill>
        </p:spPr>
      </p:sp>
    </p:spTree>
    <p:extLst>
      <p:ext uri="{BB962C8B-B14F-4D97-AF65-F5344CB8AC3E}">
        <p14:creationId xmlns:p14="http://schemas.microsoft.com/office/powerpoint/2010/main" val="22068355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66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760446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179162"/>
            <a:ext cx="110825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27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70E502F-EDED-4AEA-A155-900A96CCAF0C}"/>
              </a:ext>
            </a:extLst>
          </p:cNvPr>
          <p:cNvGrpSpPr/>
          <p:nvPr userDrawn="1"/>
        </p:nvGrpSpPr>
        <p:grpSpPr>
          <a:xfrm flipH="1">
            <a:off x="10136251" y="0"/>
            <a:ext cx="2715506" cy="7124748"/>
            <a:chOff x="-660564" y="0"/>
            <a:chExt cx="2715506" cy="7124748"/>
          </a:xfrm>
        </p:grpSpPr>
        <p:sp>
          <p:nvSpPr>
            <p:cNvPr id="11" name="타원 59">
              <a:extLst>
                <a:ext uri="{FF2B5EF4-FFF2-40B4-BE49-F238E27FC236}">
                  <a16:creationId xmlns:a16="http://schemas.microsoft.com/office/drawing/2014/main" id="{E8F7B00A-E19A-4E44-9B46-B74B8CFCEDB9}"/>
                </a:ext>
              </a:extLst>
            </p:cNvPr>
            <p:cNvSpPr/>
            <p:nvPr userDrawn="1"/>
          </p:nvSpPr>
          <p:spPr>
            <a:xfrm rot="17404054" flipH="1">
              <a:off x="129253" y="2149292"/>
              <a:ext cx="915338" cy="915338"/>
            </a:xfrm>
            <a:prstGeom prst="rect">
              <a:avLst/>
            </a:prstGeom>
            <a:solidFill>
              <a:srgbClr val="FFC900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B7339C48-48E0-4E58-A8BC-D93A11EBEF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6200000">
              <a:off x="0" y="0"/>
              <a:ext cx="2054942" cy="205494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098B5F9-896C-4C0B-9DA9-EAE2713D02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4054244">
              <a:off x="161949" y="4489357"/>
              <a:ext cx="1041083" cy="1046965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62705A7-FF8B-49AF-A9AA-9E64290E0540}"/>
                </a:ext>
              </a:extLst>
            </p:cNvPr>
            <p:cNvGrpSpPr/>
            <p:nvPr userDrawn="1"/>
          </p:nvGrpSpPr>
          <p:grpSpPr>
            <a:xfrm>
              <a:off x="0" y="3155019"/>
              <a:ext cx="1280160" cy="1280160"/>
              <a:chOff x="0" y="3174683"/>
              <a:chExt cx="879158" cy="879158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140D07-B683-4551-834A-DD3056F37CF6}"/>
                  </a:ext>
                </a:extLst>
              </p:cNvPr>
              <p:cNvSpPr/>
              <p:nvPr/>
            </p:nvSpPr>
            <p:spPr>
              <a:xfrm>
                <a:off x="0" y="3174683"/>
                <a:ext cx="879158" cy="879158"/>
              </a:xfrm>
              <a:custGeom>
                <a:avLst/>
                <a:gdLst>
                  <a:gd name="connsiteX0" fmla="*/ 879158 w 879158"/>
                  <a:gd name="connsiteY0" fmla="*/ 439579 h 879158"/>
                  <a:gd name="connsiteX1" fmla="*/ 439579 w 879158"/>
                  <a:gd name="connsiteY1" fmla="*/ 879158 h 879158"/>
                  <a:gd name="connsiteX2" fmla="*/ 0 w 879158"/>
                  <a:gd name="connsiteY2" fmla="*/ 439579 h 879158"/>
                  <a:gd name="connsiteX3" fmla="*/ 439579 w 879158"/>
                  <a:gd name="connsiteY3" fmla="*/ 0 h 879158"/>
                  <a:gd name="connsiteX4" fmla="*/ 879158 w 879158"/>
                  <a:gd name="connsiteY4" fmla="*/ 439579 h 8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9158" h="879158">
                    <a:moveTo>
                      <a:pt x="879158" y="439579"/>
                    </a:moveTo>
                    <a:cubicBezTo>
                      <a:pt x="879158" y="682352"/>
                      <a:pt x="682352" y="879158"/>
                      <a:pt x="439579" y="879158"/>
                    </a:cubicBezTo>
                    <a:cubicBezTo>
                      <a:pt x="196806" y="879158"/>
                      <a:pt x="0" y="682352"/>
                      <a:pt x="0" y="439579"/>
                    </a:cubicBezTo>
                    <a:cubicBezTo>
                      <a:pt x="0" y="196806"/>
                      <a:pt x="196806" y="0"/>
                      <a:pt x="439579" y="0"/>
                    </a:cubicBezTo>
                    <a:cubicBezTo>
                      <a:pt x="682352" y="0"/>
                      <a:pt x="879158" y="196806"/>
                      <a:pt x="879158" y="4395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4EBD521-50FB-47E4-AF8D-1DB809622A33}"/>
                  </a:ext>
                </a:extLst>
              </p:cNvPr>
              <p:cNvSpPr/>
              <p:nvPr/>
            </p:nvSpPr>
            <p:spPr>
              <a:xfrm rot="18900000">
                <a:off x="307523" y="3482187"/>
                <a:ext cx="264149" cy="264149"/>
              </a:xfrm>
              <a:custGeom>
                <a:avLst/>
                <a:gdLst>
                  <a:gd name="connsiteX0" fmla="*/ 0 w 264149"/>
                  <a:gd name="connsiteY0" fmla="*/ 0 h 264149"/>
                  <a:gd name="connsiteX1" fmla="*/ 264149 w 264149"/>
                  <a:gd name="connsiteY1" fmla="*/ 0 h 264149"/>
                  <a:gd name="connsiteX2" fmla="*/ 264149 w 264149"/>
                  <a:gd name="connsiteY2" fmla="*/ 264149 h 264149"/>
                  <a:gd name="connsiteX3" fmla="*/ 0 w 264149"/>
                  <a:gd name="connsiteY3" fmla="*/ 264149 h 2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149" h="264149">
                    <a:moveTo>
                      <a:pt x="0" y="0"/>
                    </a:moveTo>
                    <a:lnTo>
                      <a:pt x="264149" y="0"/>
                    </a:lnTo>
                    <a:lnTo>
                      <a:pt x="264149" y="264149"/>
                    </a:lnTo>
                    <a:lnTo>
                      <a:pt x="0" y="264149"/>
                    </a:lnTo>
                    <a:close/>
                  </a:path>
                </a:pathLst>
              </a:custGeom>
              <a:solidFill>
                <a:schemeClr val="bg1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85861C4-AFAC-41D0-A9CC-75CBDD24984B}"/>
                </a:ext>
              </a:extLst>
            </p:cNvPr>
            <p:cNvSpPr/>
            <p:nvPr userDrawn="1"/>
          </p:nvSpPr>
          <p:spPr>
            <a:xfrm rot="2427733" flipH="1">
              <a:off x="-660564" y="5972800"/>
              <a:ext cx="2333104" cy="1151948"/>
            </a:xfrm>
            <a:custGeom>
              <a:avLst/>
              <a:gdLst>
                <a:gd name="connsiteX0" fmla="*/ 5953001 w 5953001"/>
                <a:gd name="connsiteY0" fmla="*/ 0 h 2939238"/>
                <a:gd name="connsiteX1" fmla="*/ 3446004 w 5953001"/>
                <a:gd name="connsiteY1" fmla="*/ 2939238 h 2939238"/>
                <a:gd name="connsiteX2" fmla="*/ 0 w 5953001"/>
                <a:gd name="connsiteY2" fmla="*/ 0 h 293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53001" h="2939238">
                  <a:moveTo>
                    <a:pt x="5953001" y="0"/>
                  </a:moveTo>
                  <a:lnTo>
                    <a:pt x="3446004" y="29392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571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79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E9397FD-72E6-40CC-BFFD-908DF6E9E89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70000"/>
          </a:blip>
          <a:stretch>
            <a:fillRect/>
          </a:stretch>
        </p:blipFill>
        <p:spPr>
          <a:xfrm>
            <a:off x="7101399" y="907788"/>
            <a:ext cx="5090601" cy="5950212"/>
          </a:xfrm>
          <a:prstGeom prst="rect">
            <a:avLst/>
          </a:prstGeom>
        </p:spPr>
      </p:pic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zh-CN" dirty="0"/>
              <a:t>Click to edit </a:t>
            </a:r>
            <a:br>
              <a:rPr lang="en-US" altLang="zh-CN" dirty="0"/>
            </a:br>
            <a:r>
              <a:rPr lang="en-US" altLang="zh-CN" dirty="0"/>
              <a:t>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441883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97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50751"/>
            <a:ext cx="5065776" cy="1107996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 sz="3600"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타원 59">
            <a:extLst>
              <a:ext uri="{FF2B5EF4-FFF2-40B4-BE49-F238E27FC236}">
                <a16:creationId xmlns:a16="http://schemas.microsoft.com/office/drawing/2014/main" id="{9BD7EAE9-7241-4B80-ADE5-1A02B550CDCA}"/>
              </a:ext>
            </a:extLst>
          </p:cNvPr>
          <p:cNvSpPr/>
          <p:nvPr userDrawn="1"/>
        </p:nvSpPr>
        <p:spPr>
          <a:xfrm rot="18900000" flipH="1">
            <a:off x="2810373" y="4648094"/>
            <a:ext cx="915338" cy="915338"/>
          </a:xfrm>
          <a:prstGeom prst="rect">
            <a:avLst/>
          </a:pr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2FCA24-D0A4-4669-B4D0-86153AF1109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-1" y="3703898"/>
            <a:ext cx="3165675" cy="316567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47CC4257-2BCA-4705-BF58-FD1ED34ADCD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11099">
            <a:off x="3283539" y="5632358"/>
            <a:ext cx="1041083" cy="1046965"/>
          </a:xfrm>
          <a:prstGeom prst="rect">
            <a:avLst/>
          </a:prstGeom>
        </p:spPr>
      </p:pic>
      <p:sp>
        <p:nvSpPr>
          <p:cNvPr id="13" name="자유형: 도형 63">
            <a:extLst>
              <a:ext uri="{FF2B5EF4-FFF2-40B4-BE49-F238E27FC236}">
                <a16:creationId xmlns:a16="http://schemas.microsoft.com/office/drawing/2014/main" id="{EDE08ED0-9160-4A0F-BBC9-EF6740FBD39B}"/>
              </a:ext>
            </a:extLst>
          </p:cNvPr>
          <p:cNvSpPr/>
          <p:nvPr userDrawn="1"/>
        </p:nvSpPr>
        <p:spPr>
          <a:xfrm>
            <a:off x="4111191" y="6248843"/>
            <a:ext cx="1218315" cy="609157"/>
          </a:xfrm>
          <a:custGeom>
            <a:avLst/>
            <a:gdLst>
              <a:gd name="connsiteX0" fmla="*/ 685800 w 1371600"/>
              <a:gd name="connsiteY0" fmla="*/ 0 h 685800"/>
              <a:gd name="connsiteX1" fmla="*/ 1371600 w 1371600"/>
              <a:gd name="connsiteY1" fmla="*/ 685800 h 685800"/>
              <a:gd name="connsiteX2" fmla="*/ 0 w 1371600"/>
              <a:gd name="connsiteY2" fmla="*/ 685800 h 685800"/>
              <a:gd name="connsiteX3" fmla="*/ 685800 w 1371600"/>
              <a:gd name="connsiteY3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1600" h="685800">
                <a:moveTo>
                  <a:pt x="685800" y="0"/>
                </a:moveTo>
                <a:cubicBezTo>
                  <a:pt x="1064557" y="0"/>
                  <a:pt x="1371600" y="307043"/>
                  <a:pt x="1371600" y="685800"/>
                </a:cubicBezTo>
                <a:lnTo>
                  <a:pt x="0" y="685800"/>
                </a:lnTo>
                <a:cubicBezTo>
                  <a:pt x="0" y="307043"/>
                  <a:pt x="307043" y="0"/>
                  <a:pt x="685800" y="0"/>
                </a:cubicBezTo>
                <a:close/>
              </a:path>
            </a:pathLst>
          </a:cu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A032C4D-F615-4833-96D9-5FB3B945F2FA}"/>
              </a:ext>
            </a:extLst>
          </p:cNvPr>
          <p:cNvPicPr>
            <a:picLocks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70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17">
            <a:extLst>
              <a:ext uri="{FF2B5EF4-FFF2-40B4-BE49-F238E27FC236}">
                <a16:creationId xmlns:a16="http://schemas.microsoft.com/office/drawing/2014/main" id="{FE8DFC22-A0D1-4AF4-B041-5F79F65B9EC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50000" t="20274" b="20275"/>
          <a:stretch>
            <a:fillRect/>
          </a:stretch>
        </p:blipFill>
        <p:spPr>
          <a:xfrm>
            <a:off x="0" y="0"/>
            <a:ext cx="5767754" cy="6857998"/>
          </a:xfrm>
          <a:custGeom>
            <a:avLst/>
            <a:gdLst>
              <a:gd name="connsiteX0" fmla="*/ 0 w 5767754"/>
              <a:gd name="connsiteY0" fmla="*/ 0 h 6857998"/>
              <a:gd name="connsiteX1" fmla="*/ 5767754 w 5767754"/>
              <a:gd name="connsiteY1" fmla="*/ 0 h 6857998"/>
              <a:gd name="connsiteX2" fmla="*/ 5767754 w 5767754"/>
              <a:gd name="connsiteY2" fmla="*/ 6857998 h 6857998"/>
              <a:gd name="connsiteX3" fmla="*/ 0 w 5767754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67754" h="6857998">
                <a:moveTo>
                  <a:pt x="0" y="0"/>
                </a:moveTo>
                <a:lnTo>
                  <a:pt x="5767754" y="0"/>
                </a:lnTo>
                <a:lnTo>
                  <a:pt x="5767754" y="6857998"/>
                </a:lnTo>
                <a:lnTo>
                  <a:pt x="0" y="6857998"/>
                </a:lnTo>
                <a:close/>
              </a:path>
            </a:pathLst>
          </a:cu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526323" y="2908742"/>
            <a:ext cx="5486400" cy="1107996"/>
          </a:xfrm>
          <a:prstGeom prst="rect">
            <a:avLst/>
          </a:prstGeom>
        </p:spPr>
        <p:txBody>
          <a:bodyPr vert="horz" wrap="square" lIns="0" tIns="0" rIns="365760" bIns="0" rtlCol="0" anchor="ctr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9" name="Picture 17">
            <a:extLst>
              <a:ext uri="{FF2B5EF4-FFF2-40B4-BE49-F238E27FC236}">
                <a16:creationId xmlns:a16="http://schemas.microsoft.com/office/drawing/2014/main" id="{C39683E3-8EA8-41D8-81DA-47138E83B61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4393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203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>
            <a:extLst>
              <a:ext uri="{FF2B5EF4-FFF2-40B4-BE49-F238E27FC236}">
                <a16:creationId xmlns:a16="http://schemas.microsoft.com/office/drawing/2014/main" id="{7AAA7E89-19F9-406D-9DB9-D03B24755D0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40738" t="10537"/>
          <a:stretch>
            <a:fillRect/>
          </a:stretch>
        </p:blipFill>
        <p:spPr>
          <a:xfrm rot="1220394">
            <a:off x="-667787" y="-900333"/>
            <a:ext cx="4079860" cy="6135347"/>
          </a:xfrm>
          <a:custGeom>
            <a:avLst/>
            <a:gdLst>
              <a:gd name="connsiteX0" fmla="*/ 0 w 4079860"/>
              <a:gd name="connsiteY0" fmla="*/ 1512417 h 6135347"/>
              <a:gd name="connsiteX1" fmla="*/ 4079860 w 4079860"/>
              <a:gd name="connsiteY1" fmla="*/ 0 h 6135347"/>
              <a:gd name="connsiteX2" fmla="*/ 4079860 w 4079860"/>
              <a:gd name="connsiteY2" fmla="*/ 6135347 h 6135347"/>
              <a:gd name="connsiteX3" fmla="*/ 1713734 w 4079860"/>
              <a:gd name="connsiteY3" fmla="*/ 6135347 h 6135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9860" h="6135347">
                <a:moveTo>
                  <a:pt x="0" y="1512417"/>
                </a:moveTo>
                <a:lnTo>
                  <a:pt x="4079860" y="0"/>
                </a:lnTo>
                <a:lnTo>
                  <a:pt x="4079860" y="6135347"/>
                </a:lnTo>
                <a:lnTo>
                  <a:pt x="1713734" y="6135347"/>
                </a:lnTo>
                <a:close/>
              </a:path>
            </a:pathLst>
          </a:cu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14319E-8659-4273-BE50-9B222319E5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8374" y="4199835"/>
            <a:ext cx="7422451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F610199-A9AE-4018-AC65-C30DE121C4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12337" y="3587590"/>
            <a:ext cx="7422451" cy="343492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US" sz="2400" b="1" i="0" spc="0" baseline="0" dirty="0">
                <a:ln w="6350" cap="flat">
                  <a:noFill/>
                  <a:miter lim="800000"/>
                </a:ln>
                <a:latin typeface="Inter SemiBold" panose="02000503000000020004" pitchFamily="2" charset="0"/>
                <a:ea typeface="Inter SemiBold" panose="02000503000000020004" pitchFamily="2" charset="0"/>
                <a:cs typeface="Inter" panose="02000503000000020004" pitchFamily="2" charset="0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1EE3B48-853A-4C0B-A691-B163AEC004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336" y="1819558"/>
            <a:ext cx="2186496" cy="1975028"/>
          </a:xfrm>
        </p:spPr>
        <p:txBody>
          <a:bodyPr vert="horz" wrap="none" lIns="0" tIns="0" rIns="0" bIns="0" rtlCol="0" anchor="b" anchorCtr="0">
            <a:spAutoFit/>
          </a:bodyPr>
          <a:lstStyle>
            <a:lvl1pPr>
              <a:defRPr lang="en-US" sz="13800" i="0" dirty="0">
                <a:solidFill>
                  <a:schemeClr val="accent2"/>
                </a:solidFill>
                <a:latin typeface="Inter Black" panose="02000503000000020004" pitchFamily="2" charset="0"/>
                <a:ea typeface="Inter Black" panose="02000503000000020004" pitchFamily="2" charset="0"/>
                <a:cs typeface="Inter" panose="02000503000000020004" pitchFamily="2" charset="0"/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39478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41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3844F0E-4433-4DDA-88E9-1E85BE9E12E6}"/>
              </a:ext>
            </a:extLst>
          </p:cNvPr>
          <p:cNvGrpSpPr/>
          <p:nvPr userDrawn="1"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72A1DF8-8E21-46F8-B444-FCD191184E3E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C110A0-6C50-4188-9F6D-FAF6886CBE8E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DB51A8D-0F8E-4F6D-8B81-C1D150DE5B02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81F6FE1-05E3-45DC-97EC-B05C1DEDA355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D3C717FB-299B-419C-9F4A-F0C027F1B416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471FA3D-2E7C-4D16-9896-0C6744876EBA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C024D10-9CFD-440A-8970-8FD18DD38B7F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EF75445-49E6-4FB6-A47C-F18909A81218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CF82A1E-0528-4933-BC23-C75FC9A47AAB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B7D7F3A-ADCB-4725-8F3B-88FF953E0F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217" y="3137952"/>
            <a:ext cx="6858572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Date or other info here – inter, 12pt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85DD4448-4A93-4D30-A09E-55C9796400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4737" y="4157861"/>
            <a:ext cx="2186496" cy="343492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US" sz="2400" b="1" i="0" spc="0" baseline="0" dirty="0">
                <a:ln w="6350" cap="flat">
                  <a:noFill/>
                  <a:miter lim="800000"/>
                </a:ln>
                <a:latin typeface="Inter SemiBold" panose="02000503000000020004" pitchFamily="2" charset="0"/>
                <a:ea typeface="Inter SemiBold" panose="02000503000000020004" pitchFamily="2" charset="0"/>
                <a:cs typeface="Inter" panose="02000503000000020004" pitchFamily="2" charset="0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r>
              <a:rPr lang="en-US" dirty="0">
                <a:latin typeface="Inter SemiBold" panose="02000503000000020004" pitchFamily="2" charset="0"/>
                <a:ea typeface="Inter SemiBold" panose="02000503000000020004" pitchFamily="2" charset="0"/>
              </a:rPr>
              <a:t>Sub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2F7430A-9CDA-49D0-8FBD-2A0EBA8145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2389829"/>
            <a:ext cx="2186496" cy="1975028"/>
          </a:xfrm>
        </p:spPr>
        <p:txBody>
          <a:bodyPr vert="horz" wrap="none" lIns="0" tIns="0" rIns="0" bIns="0" rtlCol="0" anchor="b" anchorCtr="0">
            <a:noAutofit/>
          </a:bodyPr>
          <a:lstStyle>
            <a:lvl1pPr>
              <a:defRPr lang="en-US" sz="13800" i="0" dirty="0">
                <a:solidFill>
                  <a:schemeClr val="accent2"/>
                </a:solidFill>
                <a:latin typeface="Inter Black" panose="02000503000000020004" pitchFamily="2" charset="0"/>
                <a:ea typeface="Inter Black" panose="02000503000000020004" pitchFamily="2" charset="0"/>
                <a:cs typeface="Inter" panose="02000503000000020004" pitchFamily="2" charset="0"/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 dirty="0">
                <a:latin typeface="Inter Black" panose="02000503000000020004" pitchFamily="2" charset="0"/>
                <a:ea typeface="Inter Black" panose="02000503000000020004" pitchFamily="2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3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7568034-6195-40E3-82BF-FFB544E3299F}"/>
              </a:ext>
            </a:extLst>
          </p:cNvPr>
          <p:cNvSpPr/>
          <p:nvPr userDrawn="1"/>
        </p:nvSpPr>
        <p:spPr>
          <a:xfrm>
            <a:off x="1356286" y="2038280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5" name="Graphic 33">
            <a:extLst>
              <a:ext uri="{FF2B5EF4-FFF2-40B4-BE49-F238E27FC236}">
                <a16:creationId xmlns:a16="http://schemas.microsoft.com/office/drawing/2014/main" id="{CBBED21B-C62C-4448-878B-391DB1CF04CD}"/>
              </a:ext>
            </a:extLst>
          </p:cNvPr>
          <p:cNvGrpSpPr/>
          <p:nvPr userDrawn="1"/>
        </p:nvGrpSpPr>
        <p:grpSpPr>
          <a:xfrm>
            <a:off x="1356286" y="4492867"/>
            <a:ext cx="324073" cy="324194"/>
            <a:chOff x="1447630" y="5547551"/>
            <a:chExt cx="324073" cy="324194"/>
          </a:xfrm>
          <a:solidFill>
            <a:srgbClr val="00FFBC"/>
          </a:solidFill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4EAC9C5-5EFF-4A19-880A-3B5342073D54}"/>
                </a:ext>
              </a:extLst>
            </p:cNvPr>
            <p:cNvSpPr/>
            <p:nvPr/>
          </p:nvSpPr>
          <p:spPr>
            <a:xfrm>
              <a:off x="1447660" y="5547551"/>
              <a:ext cx="324042" cy="324194"/>
            </a:xfrm>
            <a:custGeom>
              <a:avLst/>
              <a:gdLst>
                <a:gd name="connsiteX0" fmla="*/ 324013 w 324042"/>
                <a:gd name="connsiteY0" fmla="*/ 43282 h 324194"/>
                <a:gd name="connsiteX1" fmla="*/ 321571 w 324042"/>
                <a:gd name="connsiteY1" fmla="*/ 45452 h 324194"/>
                <a:gd name="connsiteX2" fmla="*/ 45151 w 324042"/>
                <a:gd name="connsiteY2" fmla="*/ 321933 h 324194"/>
                <a:gd name="connsiteX3" fmla="*/ 39695 w 324042"/>
                <a:gd name="connsiteY3" fmla="*/ 324194 h 324194"/>
                <a:gd name="connsiteX4" fmla="*/ 3346 w 324042"/>
                <a:gd name="connsiteY4" fmla="*/ 324133 h 324194"/>
                <a:gd name="connsiteX5" fmla="*/ 0 w 324042"/>
                <a:gd name="connsiteY5" fmla="*/ 324133 h 324194"/>
                <a:gd name="connsiteX6" fmla="*/ 0 w 324042"/>
                <a:gd name="connsiteY6" fmla="*/ 320547 h 324194"/>
                <a:gd name="connsiteX7" fmla="*/ 995 w 324042"/>
                <a:gd name="connsiteY7" fmla="*/ 319281 h 324194"/>
                <a:gd name="connsiteX8" fmla="*/ 3225 w 324042"/>
                <a:gd name="connsiteY8" fmla="*/ 316869 h 324194"/>
                <a:gd name="connsiteX9" fmla="*/ 317653 w 324042"/>
                <a:gd name="connsiteY9" fmla="*/ 2441 h 324194"/>
                <a:gd name="connsiteX10" fmla="*/ 319823 w 324042"/>
                <a:gd name="connsiteY10" fmla="*/ 0 h 324194"/>
                <a:gd name="connsiteX11" fmla="*/ 324043 w 324042"/>
                <a:gd name="connsiteY11" fmla="*/ 0 h 324194"/>
                <a:gd name="connsiteX12" fmla="*/ 324043 w 324042"/>
                <a:gd name="connsiteY12" fmla="*/ 43312 h 32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042" h="324194">
                  <a:moveTo>
                    <a:pt x="324013" y="43282"/>
                  </a:moveTo>
                  <a:cubicBezTo>
                    <a:pt x="323199" y="44005"/>
                    <a:pt x="322355" y="44669"/>
                    <a:pt x="321571" y="45452"/>
                  </a:cubicBezTo>
                  <a:cubicBezTo>
                    <a:pt x="229401" y="137592"/>
                    <a:pt x="137261" y="229733"/>
                    <a:pt x="45151" y="321933"/>
                  </a:cubicBezTo>
                  <a:cubicBezTo>
                    <a:pt x="43523" y="323561"/>
                    <a:pt x="41956" y="324224"/>
                    <a:pt x="39695" y="324194"/>
                  </a:cubicBezTo>
                  <a:cubicBezTo>
                    <a:pt x="27579" y="324103"/>
                    <a:pt x="15462" y="324133"/>
                    <a:pt x="3346" y="324133"/>
                  </a:cubicBezTo>
                  <a:lnTo>
                    <a:pt x="0" y="324133"/>
                  </a:lnTo>
                  <a:cubicBezTo>
                    <a:pt x="0" y="322717"/>
                    <a:pt x="0" y="321632"/>
                    <a:pt x="0" y="320547"/>
                  </a:cubicBezTo>
                  <a:cubicBezTo>
                    <a:pt x="332" y="320125"/>
                    <a:pt x="663" y="319703"/>
                    <a:pt x="995" y="319281"/>
                  </a:cubicBezTo>
                  <a:cubicBezTo>
                    <a:pt x="1748" y="318467"/>
                    <a:pt x="2441" y="317653"/>
                    <a:pt x="3225" y="316869"/>
                  </a:cubicBezTo>
                  <a:cubicBezTo>
                    <a:pt x="108024" y="212070"/>
                    <a:pt x="212854" y="107241"/>
                    <a:pt x="317653" y="2441"/>
                  </a:cubicBezTo>
                  <a:cubicBezTo>
                    <a:pt x="318407" y="1688"/>
                    <a:pt x="319100" y="814"/>
                    <a:pt x="319823" y="0"/>
                  </a:cubicBezTo>
                  <a:cubicBezTo>
                    <a:pt x="321240" y="0"/>
                    <a:pt x="322626" y="0"/>
                    <a:pt x="324043" y="0"/>
                  </a:cubicBezTo>
                  <a:lnTo>
                    <a:pt x="324043" y="4331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DA8FF3E-836F-42C4-B76A-6A5C77DADED5}"/>
                </a:ext>
              </a:extLst>
            </p:cNvPr>
            <p:cNvSpPr/>
            <p:nvPr/>
          </p:nvSpPr>
          <p:spPr>
            <a:xfrm>
              <a:off x="1447660" y="5547551"/>
              <a:ext cx="274702" cy="274250"/>
            </a:xfrm>
            <a:custGeom>
              <a:avLst/>
              <a:gdLst>
                <a:gd name="connsiteX0" fmla="*/ 274703 w 274702"/>
                <a:gd name="connsiteY0" fmla="*/ 0 h 274250"/>
                <a:gd name="connsiteX1" fmla="*/ 272774 w 274702"/>
                <a:gd name="connsiteY1" fmla="*/ 2230 h 274250"/>
                <a:gd name="connsiteX2" fmla="*/ 2954 w 274702"/>
                <a:gd name="connsiteY2" fmla="*/ 272050 h 274250"/>
                <a:gd name="connsiteX3" fmla="*/ 512 w 274702"/>
                <a:gd name="connsiteY3" fmla="*/ 274250 h 274250"/>
                <a:gd name="connsiteX4" fmla="*/ 0 w 274702"/>
                <a:gd name="connsiteY4" fmla="*/ 274220 h 274250"/>
                <a:gd name="connsiteX5" fmla="*/ 0 w 274702"/>
                <a:gd name="connsiteY5" fmla="*/ 228557 h 274250"/>
                <a:gd name="connsiteX6" fmla="*/ 1085 w 274702"/>
                <a:gd name="connsiteY6" fmla="*/ 227412 h 274250"/>
                <a:gd name="connsiteX7" fmla="*/ 2863 w 274702"/>
                <a:gd name="connsiteY7" fmla="*/ 225844 h 274250"/>
                <a:gd name="connsiteX8" fmla="*/ 226658 w 274702"/>
                <a:gd name="connsiteY8" fmla="*/ 2050 h 274250"/>
                <a:gd name="connsiteX9" fmla="*/ 228376 w 274702"/>
                <a:gd name="connsiteY9" fmla="*/ 30 h 274250"/>
                <a:gd name="connsiteX10" fmla="*/ 274672 w 274702"/>
                <a:gd name="connsiteY10" fmla="*/ 30 h 27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702" h="274250">
                  <a:moveTo>
                    <a:pt x="274703" y="0"/>
                  </a:moveTo>
                  <a:cubicBezTo>
                    <a:pt x="274070" y="754"/>
                    <a:pt x="273467" y="1537"/>
                    <a:pt x="272774" y="2230"/>
                  </a:cubicBezTo>
                  <a:cubicBezTo>
                    <a:pt x="182834" y="92170"/>
                    <a:pt x="92894" y="182110"/>
                    <a:pt x="2954" y="272050"/>
                  </a:cubicBezTo>
                  <a:cubicBezTo>
                    <a:pt x="2170" y="272834"/>
                    <a:pt x="1326" y="273527"/>
                    <a:pt x="512" y="274250"/>
                  </a:cubicBezTo>
                  <a:cubicBezTo>
                    <a:pt x="332" y="274250"/>
                    <a:pt x="181" y="274250"/>
                    <a:pt x="0" y="274220"/>
                  </a:cubicBezTo>
                  <a:cubicBezTo>
                    <a:pt x="0" y="258999"/>
                    <a:pt x="0" y="243778"/>
                    <a:pt x="0" y="228557"/>
                  </a:cubicBezTo>
                  <a:cubicBezTo>
                    <a:pt x="362" y="228165"/>
                    <a:pt x="723" y="227804"/>
                    <a:pt x="1085" y="227412"/>
                  </a:cubicBezTo>
                  <a:cubicBezTo>
                    <a:pt x="1688" y="226899"/>
                    <a:pt x="2321" y="226387"/>
                    <a:pt x="2863" y="225844"/>
                  </a:cubicBezTo>
                  <a:cubicBezTo>
                    <a:pt x="77462" y="151246"/>
                    <a:pt x="152060" y="76648"/>
                    <a:pt x="226658" y="2050"/>
                  </a:cubicBezTo>
                  <a:cubicBezTo>
                    <a:pt x="227291" y="1417"/>
                    <a:pt x="227804" y="693"/>
                    <a:pt x="228376" y="30"/>
                  </a:cubicBezTo>
                  <a:cubicBezTo>
                    <a:pt x="243808" y="30"/>
                    <a:pt x="259240" y="30"/>
                    <a:pt x="274672" y="3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5944456-5B9B-4CB5-AB6C-C72DB1E11249}"/>
                </a:ext>
              </a:extLst>
            </p:cNvPr>
            <p:cNvSpPr/>
            <p:nvPr/>
          </p:nvSpPr>
          <p:spPr>
            <a:xfrm>
              <a:off x="1535912" y="5635954"/>
              <a:ext cx="235760" cy="235791"/>
            </a:xfrm>
            <a:custGeom>
              <a:avLst/>
              <a:gdLst>
                <a:gd name="connsiteX0" fmla="*/ 235761 w 235760"/>
                <a:gd name="connsiteY0" fmla="*/ 46899 h 235791"/>
                <a:gd name="connsiteX1" fmla="*/ 233319 w 235760"/>
                <a:gd name="connsiteY1" fmla="*/ 49069 h 235791"/>
                <a:gd name="connsiteX2" fmla="*/ 49099 w 235760"/>
                <a:gd name="connsiteY2" fmla="*/ 233380 h 235791"/>
                <a:gd name="connsiteX3" fmla="*/ 43101 w 235760"/>
                <a:gd name="connsiteY3" fmla="*/ 235791 h 235791"/>
                <a:gd name="connsiteX4" fmla="*/ 0 w 235760"/>
                <a:gd name="connsiteY4" fmla="*/ 235731 h 235791"/>
                <a:gd name="connsiteX5" fmla="*/ 1869 w 235760"/>
                <a:gd name="connsiteY5" fmla="*/ 233591 h 235791"/>
                <a:gd name="connsiteX6" fmla="*/ 233952 w 235760"/>
                <a:gd name="connsiteY6" fmla="*/ 1507 h 235791"/>
                <a:gd name="connsiteX7" fmla="*/ 235761 w 235760"/>
                <a:gd name="connsiteY7" fmla="*/ 0 h 235791"/>
                <a:gd name="connsiteX8" fmla="*/ 235761 w 235760"/>
                <a:gd name="connsiteY8" fmla="*/ 46899 h 23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760" h="235791">
                  <a:moveTo>
                    <a:pt x="235761" y="46899"/>
                  </a:moveTo>
                  <a:cubicBezTo>
                    <a:pt x="234947" y="47622"/>
                    <a:pt x="234103" y="48285"/>
                    <a:pt x="233319" y="49069"/>
                  </a:cubicBezTo>
                  <a:cubicBezTo>
                    <a:pt x="171893" y="110496"/>
                    <a:pt x="110466" y="171893"/>
                    <a:pt x="49099" y="233380"/>
                  </a:cubicBezTo>
                  <a:cubicBezTo>
                    <a:pt x="47291" y="235188"/>
                    <a:pt x="45543" y="235821"/>
                    <a:pt x="43101" y="235791"/>
                  </a:cubicBezTo>
                  <a:cubicBezTo>
                    <a:pt x="28875" y="235700"/>
                    <a:pt x="14679" y="235731"/>
                    <a:pt x="0" y="235731"/>
                  </a:cubicBezTo>
                  <a:cubicBezTo>
                    <a:pt x="784" y="234826"/>
                    <a:pt x="1296" y="234163"/>
                    <a:pt x="1869" y="233591"/>
                  </a:cubicBezTo>
                  <a:cubicBezTo>
                    <a:pt x="79240" y="156219"/>
                    <a:pt x="156581" y="78878"/>
                    <a:pt x="233952" y="1507"/>
                  </a:cubicBezTo>
                  <a:cubicBezTo>
                    <a:pt x="234495" y="964"/>
                    <a:pt x="235158" y="482"/>
                    <a:pt x="235761" y="0"/>
                  </a:cubicBezTo>
                  <a:lnTo>
                    <a:pt x="23576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742E645-1FFA-4E5F-A6A0-5CF988D89EE9}"/>
                </a:ext>
              </a:extLst>
            </p:cNvPr>
            <p:cNvSpPr/>
            <p:nvPr/>
          </p:nvSpPr>
          <p:spPr>
            <a:xfrm>
              <a:off x="1447630" y="5547551"/>
              <a:ext cx="183315" cy="182291"/>
            </a:xfrm>
            <a:custGeom>
              <a:avLst/>
              <a:gdLst>
                <a:gd name="connsiteX0" fmla="*/ 183316 w 183315"/>
                <a:gd name="connsiteY0" fmla="*/ 0 h 182291"/>
                <a:gd name="connsiteX1" fmla="*/ 181809 w 183315"/>
                <a:gd name="connsiteY1" fmla="*/ 1808 h 182291"/>
                <a:gd name="connsiteX2" fmla="*/ 2713 w 183315"/>
                <a:gd name="connsiteY2" fmla="*/ 180905 h 182291"/>
                <a:gd name="connsiteX3" fmla="*/ 1145 w 183315"/>
                <a:gd name="connsiteY3" fmla="*/ 182291 h 182291"/>
                <a:gd name="connsiteX4" fmla="*/ 0 w 183315"/>
                <a:gd name="connsiteY4" fmla="*/ 181628 h 182291"/>
                <a:gd name="connsiteX5" fmla="*/ 0 w 183315"/>
                <a:gd name="connsiteY5" fmla="*/ 137713 h 182291"/>
                <a:gd name="connsiteX6" fmla="*/ 452 w 183315"/>
                <a:gd name="connsiteY6" fmla="*/ 136477 h 182291"/>
                <a:gd name="connsiteX7" fmla="*/ 1115 w 183315"/>
                <a:gd name="connsiteY7" fmla="*/ 135392 h 182291"/>
                <a:gd name="connsiteX8" fmla="*/ 2683 w 183315"/>
                <a:gd name="connsiteY8" fmla="*/ 134036 h 182291"/>
                <a:gd name="connsiteX9" fmla="*/ 134880 w 183315"/>
                <a:gd name="connsiteY9" fmla="*/ 1808 h 182291"/>
                <a:gd name="connsiteX10" fmla="*/ 136387 w 183315"/>
                <a:gd name="connsiteY10" fmla="*/ 0 h 182291"/>
                <a:gd name="connsiteX11" fmla="*/ 183286 w 183315"/>
                <a:gd name="connsiteY11" fmla="*/ 0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315" h="182291">
                  <a:moveTo>
                    <a:pt x="183316" y="0"/>
                  </a:moveTo>
                  <a:cubicBezTo>
                    <a:pt x="182804" y="603"/>
                    <a:pt x="182351" y="1266"/>
                    <a:pt x="181809" y="1808"/>
                  </a:cubicBezTo>
                  <a:cubicBezTo>
                    <a:pt x="122130" y="61517"/>
                    <a:pt x="62421" y="121226"/>
                    <a:pt x="2713" y="180905"/>
                  </a:cubicBezTo>
                  <a:cubicBezTo>
                    <a:pt x="2230" y="181387"/>
                    <a:pt x="1658" y="181809"/>
                    <a:pt x="1145" y="182291"/>
                  </a:cubicBezTo>
                  <a:cubicBezTo>
                    <a:pt x="754" y="182080"/>
                    <a:pt x="392" y="181839"/>
                    <a:pt x="0" y="181628"/>
                  </a:cubicBezTo>
                  <a:cubicBezTo>
                    <a:pt x="0" y="166980"/>
                    <a:pt x="0" y="152361"/>
                    <a:pt x="0" y="137713"/>
                  </a:cubicBezTo>
                  <a:cubicBezTo>
                    <a:pt x="151" y="137291"/>
                    <a:pt x="301" y="136899"/>
                    <a:pt x="452" y="136477"/>
                  </a:cubicBezTo>
                  <a:cubicBezTo>
                    <a:pt x="663" y="136116"/>
                    <a:pt x="874" y="135754"/>
                    <a:pt x="1115" y="135392"/>
                  </a:cubicBezTo>
                  <a:cubicBezTo>
                    <a:pt x="1628" y="134940"/>
                    <a:pt x="2200" y="134518"/>
                    <a:pt x="2683" y="134036"/>
                  </a:cubicBezTo>
                  <a:cubicBezTo>
                    <a:pt x="46748" y="89970"/>
                    <a:pt x="90814" y="45904"/>
                    <a:pt x="134880" y="1808"/>
                  </a:cubicBezTo>
                  <a:cubicBezTo>
                    <a:pt x="135422" y="1266"/>
                    <a:pt x="135905" y="603"/>
                    <a:pt x="136387" y="0"/>
                  </a:cubicBezTo>
                  <a:cubicBezTo>
                    <a:pt x="152030" y="0"/>
                    <a:pt x="167673" y="0"/>
                    <a:pt x="18328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298903B-F98C-4112-AB00-284947C22875}"/>
                </a:ext>
              </a:extLst>
            </p:cNvPr>
            <p:cNvSpPr/>
            <p:nvPr/>
          </p:nvSpPr>
          <p:spPr>
            <a:xfrm>
              <a:off x="1627931" y="5727974"/>
              <a:ext cx="143741" cy="143742"/>
            </a:xfrm>
            <a:custGeom>
              <a:avLst/>
              <a:gdLst>
                <a:gd name="connsiteX0" fmla="*/ 143741 w 143741"/>
                <a:gd name="connsiteY0" fmla="*/ 46899 h 143742"/>
                <a:gd name="connsiteX1" fmla="*/ 141300 w 143741"/>
                <a:gd name="connsiteY1" fmla="*/ 49069 h 143742"/>
                <a:gd name="connsiteX2" fmla="*/ 48888 w 143741"/>
                <a:gd name="connsiteY2" fmla="*/ 141541 h 143742"/>
                <a:gd name="connsiteX3" fmla="*/ 43403 w 143741"/>
                <a:gd name="connsiteY3" fmla="*/ 143741 h 143742"/>
                <a:gd name="connsiteX4" fmla="*/ 0 w 143741"/>
                <a:gd name="connsiteY4" fmla="*/ 143711 h 143742"/>
                <a:gd name="connsiteX5" fmla="*/ 1447 w 143741"/>
                <a:gd name="connsiteY5" fmla="*/ 141993 h 143742"/>
                <a:gd name="connsiteX6" fmla="*/ 142355 w 143741"/>
                <a:gd name="connsiteY6" fmla="*/ 1085 h 143742"/>
                <a:gd name="connsiteX7" fmla="*/ 143741 w 143741"/>
                <a:gd name="connsiteY7" fmla="*/ 0 h 143742"/>
                <a:gd name="connsiteX8" fmla="*/ 143741 w 143741"/>
                <a:gd name="connsiteY8" fmla="*/ 46899 h 14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741" h="143742">
                  <a:moveTo>
                    <a:pt x="143741" y="46899"/>
                  </a:moveTo>
                  <a:cubicBezTo>
                    <a:pt x="142927" y="47622"/>
                    <a:pt x="142083" y="48285"/>
                    <a:pt x="141300" y="49069"/>
                  </a:cubicBezTo>
                  <a:cubicBezTo>
                    <a:pt x="110466" y="79873"/>
                    <a:pt x="79632" y="110677"/>
                    <a:pt x="48888" y="141541"/>
                  </a:cubicBezTo>
                  <a:cubicBezTo>
                    <a:pt x="47261" y="143168"/>
                    <a:pt x="45663" y="143771"/>
                    <a:pt x="43403" y="143741"/>
                  </a:cubicBezTo>
                  <a:cubicBezTo>
                    <a:pt x="29086" y="143651"/>
                    <a:pt x="14769" y="143711"/>
                    <a:pt x="0" y="143711"/>
                  </a:cubicBezTo>
                  <a:cubicBezTo>
                    <a:pt x="633" y="142957"/>
                    <a:pt x="995" y="142415"/>
                    <a:pt x="1447" y="141993"/>
                  </a:cubicBezTo>
                  <a:cubicBezTo>
                    <a:pt x="48406" y="95004"/>
                    <a:pt x="95395" y="48044"/>
                    <a:pt x="142355" y="1085"/>
                  </a:cubicBezTo>
                  <a:cubicBezTo>
                    <a:pt x="142777" y="663"/>
                    <a:pt x="143289" y="362"/>
                    <a:pt x="143741" y="0"/>
                  </a:cubicBezTo>
                  <a:lnTo>
                    <a:pt x="14374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6DC6304-ECB3-4B07-85ED-DA563DC036CB}"/>
                </a:ext>
              </a:extLst>
            </p:cNvPr>
            <p:cNvSpPr/>
            <p:nvPr/>
          </p:nvSpPr>
          <p:spPr>
            <a:xfrm>
              <a:off x="1447690" y="5547551"/>
              <a:ext cx="91296" cy="90271"/>
            </a:xfrm>
            <a:custGeom>
              <a:avLst/>
              <a:gdLst>
                <a:gd name="connsiteX0" fmla="*/ 91266 w 91296"/>
                <a:gd name="connsiteY0" fmla="*/ 0 h 90271"/>
                <a:gd name="connsiteX1" fmla="*/ 89970 w 91296"/>
                <a:gd name="connsiteY1" fmla="*/ 1597 h 90271"/>
                <a:gd name="connsiteX2" fmla="*/ 2261 w 91296"/>
                <a:gd name="connsiteY2" fmla="*/ 89307 h 90271"/>
                <a:gd name="connsiteX3" fmla="*/ 1145 w 91296"/>
                <a:gd name="connsiteY3" fmla="*/ 90271 h 90271"/>
                <a:gd name="connsiteX4" fmla="*/ 0 w 91296"/>
                <a:gd name="connsiteY4" fmla="*/ 89608 h 90271"/>
                <a:gd name="connsiteX5" fmla="*/ 0 w 91296"/>
                <a:gd name="connsiteY5" fmla="*/ 45091 h 90271"/>
                <a:gd name="connsiteX6" fmla="*/ 965 w 91296"/>
                <a:gd name="connsiteY6" fmla="*/ 43885 h 90271"/>
                <a:gd name="connsiteX7" fmla="*/ 40117 w 91296"/>
                <a:gd name="connsiteY7" fmla="*/ 4551 h 90271"/>
                <a:gd name="connsiteX8" fmla="*/ 44397 w 91296"/>
                <a:gd name="connsiteY8" fmla="*/ 0 h 90271"/>
                <a:gd name="connsiteX9" fmla="*/ 91296 w 91296"/>
                <a:gd name="connsiteY9" fmla="*/ 0 h 9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90271">
                  <a:moveTo>
                    <a:pt x="91266" y="0"/>
                  </a:moveTo>
                  <a:cubicBezTo>
                    <a:pt x="90844" y="543"/>
                    <a:pt x="90452" y="1115"/>
                    <a:pt x="89970" y="1597"/>
                  </a:cubicBezTo>
                  <a:cubicBezTo>
                    <a:pt x="60734" y="30834"/>
                    <a:pt x="31497" y="60070"/>
                    <a:pt x="2261" y="89307"/>
                  </a:cubicBezTo>
                  <a:cubicBezTo>
                    <a:pt x="1899" y="89669"/>
                    <a:pt x="1507" y="89940"/>
                    <a:pt x="1145" y="90271"/>
                  </a:cubicBezTo>
                  <a:cubicBezTo>
                    <a:pt x="754" y="90060"/>
                    <a:pt x="392" y="89819"/>
                    <a:pt x="0" y="89608"/>
                  </a:cubicBezTo>
                  <a:cubicBezTo>
                    <a:pt x="0" y="74779"/>
                    <a:pt x="0" y="59920"/>
                    <a:pt x="0" y="45091"/>
                  </a:cubicBezTo>
                  <a:cubicBezTo>
                    <a:pt x="332" y="44699"/>
                    <a:pt x="633" y="44277"/>
                    <a:pt x="965" y="43885"/>
                  </a:cubicBezTo>
                  <a:cubicBezTo>
                    <a:pt x="14015" y="30774"/>
                    <a:pt x="27066" y="17662"/>
                    <a:pt x="40117" y="4551"/>
                  </a:cubicBezTo>
                  <a:cubicBezTo>
                    <a:pt x="41594" y="3074"/>
                    <a:pt x="42981" y="1507"/>
                    <a:pt x="44397" y="0"/>
                  </a:cubicBezTo>
                  <a:cubicBezTo>
                    <a:pt x="60040" y="0"/>
                    <a:pt x="75683" y="0"/>
                    <a:pt x="9129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ABD8D09-947A-4270-A33D-B171A8BF734A}"/>
                </a:ext>
              </a:extLst>
            </p:cNvPr>
            <p:cNvSpPr/>
            <p:nvPr/>
          </p:nvSpPr>
          <p:spPr>
            <a:xfrm>
              <a:off x="1719831" y="5819963"/>
              <a:ext cx="51842" cy="51721"/>
            </a:xfrm>
            <a:custGeom>
              <a:avLst/>
              <a:gdLst>
                <a:gd name="connsiteX0" fmla="*/ 51842 w 51842"/>
                <a:gd name="connsiteY0" fmla="*/ 51721 h 51721"/>
                <a:gd name="connsiteX1" fmla="*/ 0 w 51842"/>
                <a:gd name="connsiteY1" fmla="*/ 51721 h 51721"/>
                <a:gd name="connsiteX2" fmla="*/ 1386 w 51842"/>
                <a:gd name="connsiteY2" fmla="*/ 50154 h 51721"/>
                <a:gd name="connsiteX3" fmla="*/ 50456 w 51842"/>
                <a:gd name="connsiteY3" fmla="*/ 1085 h 51721"/>
                <a:gd name="connsiteX4" fmla="*/ 51842 w 51842"/>
                <a:gd name="connsiteY4" fmla="*/ 0 h 51721"/>
                <a:gd name="connsiteX5" fmla="*/ 51842 w 51842"/>
                <a:gd name="connsiteY5" fmla="*/ 51721 h 5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42" h="51721">
                  <a:moveTo>
                    <a:pt x="51842" y="51721"/>
                  </a:moveTo>
                  <a:lnTo>
                    <a:pt x="0" y="51721"/>
                  </a:lnTo>
                  <a:cubicBezTo>
                    <a:pt x="663" y="50968"/>
                    <a:pt x="995" y="50546"/>
                    <a:pt x="1386" y="50154"/>
                  </a:cubicBezTo>
                  <a:cubicBezTo>
                    <a:pt x="17753" y="33788"/>
                    <a:pt x="34089" y="17421"/>
                    <a:pt x="50456" y="1085"/>
                  </a:cubicBezTo>
                  <a:cubicBezTo>
                    <a:pt x="50878" y="663"/>
                    <a:pt x="51360" y="362"/>
                    <a:pt x="51842" y="0"/>
                  </a:cubicBezTo>
                  <a:lnTo>
                    <a:pt x="51842" y="5172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28743829-E657-4C1E-BB00-A1B66F38E3B3}"/>
              </a:ext>
            </a:extLst>
          </p:cNvPr>
          <p:cNvSpPr/>
          <p:nvPr userDrawn="1"/>
        </p:nvSpPr>
        <p:spPr>
          <a:xfrm>
            <a:off x="10511218" y="1983900"/>
            <a:ext cx="323560" cy="324796"/>
          </a:xfrm>
          <a:custGeom>
            <a:avLst/>
            <a:gdLst>
              <a:gd name="connsiteX0" fmla="*/ 323561 w 323560"/>
              <a:gd name="connsiteY0" fmla="*/ 320848 h 324796"/>
              <a:gd name="connsiteX1" fmla="*/ 323531 w 323560"/>
              <a:gd name="connsiteY1" fmla="*/ 320336 h 324796"/>
              <a:gd name="connsiteX2" fmla="*/ 323531 w 323560"/>
              <a:gd name="connsiteY2" fmla="*/ 0 h 324796"/>
              <a:gd name="connsiteX3" fmla="*/ 0 w 323560"/>
              <a:gd name="connsiteY3" fmla="*/ 0 h 324796"/>
              <a:gd name="connsiteX4" fmla="*/ 0 w 323560"/>
              <a:gd name="connsiteY4" fmla="*/ 3104 h 324796"/>
              <a:gd name="connsiteX5" fmla="*/ 181 w 323560"/>
              <a:gd name="connsiteY5" fmla="*/ 4370 h 324796"/>
              <a:gd name="connsiteX6" fmla="*/ 3979 w 323560"/>
              <a:gd name="connsiteY6" fmla="*/ 50817 h 324796"/>
              <a:gd name="connsiteX7" fmla="*/ 12900 w 323560"/>
              <a:gd name="connsiteY7" fmla="*/ 91537 h 324796"/>
              <a:gd name="connsiteX8" fmla="*/ 30141 w 323560"/>
              <a:gd name="connsiteY8" fmla="*/ 138225 h 324796"/>
              <a:gd name="connsiteX9" fmla="*/ 43945 w 323560"/>
              <a:gd name="connsiteY9" fmla="*/ 164538 h 324796"/>
              <a:gd name="connsiteX10" fmla="*/ 86444 w 323560"/>
              <a:gd name="connsiteY10" fmla="*/ 222197 h 324796"/>
              <a:gd name="connsiteX11" fmla="*/ 130509 w 323560"/>
              <a:gd name="connsiteY11" fmla="*/ 261923 h 324796"/>
              <a:gd name="connsiteX12" fmla="*/ 166196 w 323560"/>
              <a:gd name="connsiteY12" fmla="*/ 285372 h 324796"/>
              <a:gd name="connsiteX13" fmla="*/ 219515 w 323560"/>
              <a:gd name="connsiteY13" fmla="*/ 309726 h 324796"/>
              <a:gd name="connsiteX14" fmla="*/ 284890 w 323560"/>
              <a:gd name="connsiteY14" fmla="*/ 324766 h 324796"/>
              <a:gd name="connsiteX15" fmla="*/ 285252 w 323560"/>
              <a:gd name="connsiteY15" fmla="*/ 324796 h 324796"/>
              <a:gd name="connsiteX16" fmla="*/ 323531 w 323560"/>
              <a:gd name="connsiteY16" fmla="*/ 324796 h 324796"/>
              <a:gd name="connsiteX17" fmla="*/ 323531 w 323560"/>
              <a:gd name="connsiteY17" fmla="*/ 320818 h 3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3560" h="324796">
                <a:moveTo>
                  <a:pt x="323561" y="320848"/>
                </a:moveTo>
                <a:cubicBezTo>
                  <a:pt x="323561" y="320667"/>
                  <a:pt x="323531" y="320516"/>
                  <a:pt x="323531" y="320336"/>
                </a:cubicBezTo>
                <a:cubicBezTo>
                  <a:pt x="323531" y="307466"/>
                  <a:pt x="323531" y="14076"/>
                  <a:pt x="323531" y="0"/>
                </a:cubicBezTo>
                <a:lnTo>
                  <a:pt x="0" y="0"/>
                </a:lnTo>
                <a:lnTo>
                  <a:pt x="0" y="3104"/>
                </a:lnTo>
                <a:cubicBezTo>
                  <a:pt x="90" y="3466"/>
                  <a:pt x="151" y="3888"/>
                  <a:pt x="181" y="4370"/>
                </a:cubicBezTo>
                <a:cubicBezTo>
                  <a:pt x="1296" y="19863"/>
                  <a:pt x="1778" y="35476"/>
                  <a:pt x="3979" y="50817"/>
                </a:cubicBezTo>
                <a:cubicBezTo>
                  <a:pt x="5938" y="64531"/>
                  <a:pt x="9524" y="78064"/>
                  <a:pt x="12900" y="91537"/>
                </a:cubicBezTo>
                <a:cubicBezTo>
                  <a:pt x="16969" y="107693"/>
                  <a:pt x="23178" y="123125"/>
                  <a:pt x="30141" y="138225"/>
                </a:cubicBezTo>
                <a:cubicBezTo>
                  <a:pt x="34270" y="147207"/>
                  <a:pt x="39093" y="155918"/>
                  <a:pt x="43945" y="164538"/>
                </a:cubicBezTo>
                <a:cubicBezTo>
                  <a:pt x="55760" y="185456"/>
                  <a:pt x="70137" y="204505"/>
                  <a:pt x="86444" y="222197"/>
                </a:cubicBezTo>
                <a:cubicBezTo>
                  <a:pt x="99917" y="236846"/>
                  <a:pt x="114263" y="250469"/>
                  <a:pt x="130509" y="261923"/>
                </a:cubicBezTo>
                <a:cubicBezTo>
                  <a:pt x="142144" y="270121"/>
                  <a:pt x="154079" y="277898"/>
                  <a:pt x="166196" y="285372"/>
                </a:cubicBezTo>
                <a:cubicBezTo>
                  <a:pt x="182924" y="295711"/>
                  <a:pt x="200978" y="303336"/>
                  <a:pt x="219515" y="309726"/>
                </a:cubicBezTo>
                <a:cubicBezTo>
                  <a:pt x="240764" y="317020"/>
                  <a:pt x="262496" y="322415"/>
                  <a:pt x="284890" y="324766"/>
                </a:cubicBezTo>
                <a:cubicBezTo>
                  <a:pt x="285011" y="324766"/>
                  <a:pt x="285131" y="324766"/>
                  <a:pt x="285252" y="324796"/>
                </a:cubicBezTo>
                <a:lnTo>
                  <a:pt x="323531" y="324796"/>
                </a:lnTo>
                <a:lnTo>
                  <a:pt x="323531" y="320818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9769B778-480B-4F69-A487-0FC236B306EE}"/>
              </a:ext>
            </a:extLst>
          </p:cNvPr>
          <p:cNvSpPr/>
          <p:nvPr userDrawn="1"/>
        </p:nvSpPr>
        <p:spPr>
          <a:xfrm rot="2700000">
            <a:off x="10561131" y="4573338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F83E68E-C769-40B8-96BD-499F3D0C0926}"/>
              </a:ext>
            </a:extLst>
          </p:cNvPr>
          <p:cNvGrpSpPr/>
          <p:nvPr userDrawn="1"/>
        </p:nvGrpSpPr>
        <p:grpSpPr>
          <a:xfrm>
            <a:off x="551942" y="657151"/>
            <a:ext cx="426764" cy="426924"/>
            <a:chOff x="551942" y="657151"/>
            <a:chExt cx="426764" cy="426924"/>
          </a:xfrm>
          <a:solidFill>
            <a:srgbClr val="00FFBC"/>
          </a:solidFill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86B7937-98AF-4DF8-BE4C-2AAD74D41C21}"/>
                </a:ext>
              </a:extLst>
            </p:cNvPr>
            <p:cNvSpPr/>
            <p:nvPr/>
          </p:nvSpPr>
          <p:spPr>
            <a:xfrm>
              <a:off x="551982" y="657151"/>
              <a:ext cx="426724" cy="426923"/>
            </a:xfrm>
            <a:custGeom>
              <a:avLst/>
              <a:gdLst>
                <a:gd name="connsiteX0" fmla="*/ 426685 w 426724"/>
                <a:gd name="connsiteY0" fmla="*/ 56997 h 426923"/>
                <a:gd name="connsiteX1" fmla="*/ 423470 w 426724"/>
                <a:gd name="connsiteY1" fmla="*/ 59855 h 426923"/>
                <a:gd name="connsiteX2" fmla="*/ 59458 w 426724"/>
                <a:gd name="connsiteY2" fmla="*/ 423946 h 426923"/>
                <a:gd name="connsiteX3" fmla="*/ 52274 w 426724"/>
                <a:gd name="connsiteY3" fmla="*/ 426923 h 426923"/>
                <a:gd name="connsiteX4" fmla="*/ 4406 w 426724"/>
                <a:gd name="connsiteY4" fmla="*/ 426843 h 426923"/>
                <a:gd name="connsiteX5" fmla="*/ 0 w 426724"/>
                <a:gd name="connsiteY5" fmla="*/ 426843 h 426923"/>
                <a:gd name="connsiteX6" fmla="*/ 0 w 426724"/>
                <a:gd name="connsiteY6" fmla="*/ 422120 h 426923"/>
                <a:gd name="connsiteX7" fmla="*/ 1310 w 426724"/>
                <a:gd name="connsiteY7" fmla="*/ 420453 h 426923"/>
                <a:gd name="connsiteX8" fmla="*/ 4247 w 426724"/>
                <a:gd name="connsiteY8" fmla="*/ 417278 h 426923"/>
                <a:gd name="connsiteX9" fmla="*/ 418310 w 426724"/>
                <a:gd name="connsiteY9" fmla="*/ 3215 h 426923"/>
                <a:gd name="connsiteX10" fmla="*/ 421167 w 426724"/>
                <a:gd name="connsiteY10" fmla="*/ 0 h 426923"/>
                <a:gd name="connsiteX11" fmla="*/ 426724 w 426724"/>
                <a:gd name="connsiteY11" fmla="*/ 0 h 426923"/>
                <a:gd name="connsiteX12" fmla="*/ 426724 w 426724"/>
                <a:gd name="connsiteY12" fmla="*/ 57037 h 4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724" h="426923">
                  <a:moveTo>
                    <a:pt x="426685" y="56997"/>
                  </a:moveTo>
                  <a:cubicBezTo>
                    <a:pt x="425613" y="57950"/>
                    <a:pt x="424501" y="58823"/>
                    <a:pt x="423470" y="59855"/>
                  </a:cubicBezTo>
                  <a:cubicBezTo>
                    <a:pt x="302093" y="181192"/>
                    <a:pt x="180755" y="302529"/>
                    <a:pt x="59458" y="423946"/>
                  </a:cubicBezTo>
                  <a:cubicBezTo>
                    <a:pt x="57315" y="426089"/>
                    <a:pt x="55251" y="426962"/>
                    <a:pt x="52274" y="426923"/>
                  </a:cubicBezTo>
                  <a:cubicBezTo>
                    <a:pt x="36318" y="426804"/>
                    <a:pt x="20362" y="426843"/>
                    <a:pt x="4406" y="426843"/>
                  </a:cubicBezTo>
                  <a:lnTo>
                    <a:pt x="0" y="426843"/>
                  </a:lnTo>
                  <a:cubicBezTo>
                    <a:pt x="0" y="424978"/>
                    <a:pt x="0" y="423549"/>
                    <a:pt x="0" y="422120"/>
                  </a:cubicBezTo>
                  <a:cubicBezTo>
                    <a:pt x="437" y="421564"/>
                    <a:pt x="873" y="421009"/>
                    <a:pt x="1310" y="420453"/>
                  </a:cubicBezTo>
                  <a:cubicBezTo>
                    <a:pt x="2302" y="419381"/>
                    <a:pt x="3215" y="418310"/>
                    <a:pt x="4247" y="417278"/>
                  </a:cubicBezTo>
                  <a:cubicBezTo>
                    <a:pt x="142255" y="279270"/>
                    <a:pt x="280302" y="141223"/>
                    <a:pt x="418310" y="3215"/>
                  </a:cubicBezTo>
                  <a:cubicBezTo>
                    <a:pt x="419302" y="2223"/>
                    <a:pt x="420215" y="1072"/>
                    <a:pt x="421167" y="0"/>
                  </a:cubicBezTo>
                  <a:cubicBezTo>
                    <a:pt x="423033" y="0"/>
                    <a:pt x="424859" y="0"/>
                    <a:pt x="426724" y="0"/>
                  </a:cubicBezTo>
                  <a:lnTo>
                    <a:pt x="426724" y="57037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87B4D6C-9E51-4C00-9BDF-FAEB8B46ECF5}"/>
                </a:ext>
              </a:extLst>
            </p:cNvPr>
            <p:cNvSpPr/>
            <p:nvPr/>
          </p:nvSpPr>
          <p:spPr>
            <a:xfrm>
              <a:off x="551982" y="657151"/>
              <a:ext cx="361749" cy="361153"/>
            </a:xfrm>
            <a:custGeom>
              <a:avLst/>
              <a:gdLst>
                <a:gd name="connsiteX0" fmla="*/ 361749 w 361749"/>
                <a:gd name="connsiteY0" fmla="*/ 0 h 361153"/>
                <a:gd name="connsiteX1" fmla="*/ 359209 w 361749"/>
                <a:gd name="connsiteY1" fmla="*/ 2937 h 361153"/>
                <a:gd name="connsiteX2" fmla="*/ 3890 w 361749"/>
                <a:gd name="connsiteY2" fmla="*/ 358256 h 361153"/>
                <a:gd name="connsiteX3" fmla="*/ 675 w 361749"/>
                <a:gd name="connsiteY3" fmla="*/ 361154 h 361153"/>
                <a:gd name="connsiteX4" fmla="*/ 0 w 361749"/>
                <a:gd name="connsiteY4" fmla="*/ 361114 h 361153"/>
                <a:gd name="connsiteX5" fmla="*/ 0 w 361749"/>
                <a:gd name="connsiteY5" fmla="*/ 300981 h 361153"/>
                <a:gd name="connsiteX6" fmla="*/ 1429 w 361749"/>
                <a:gd name="connsiteY6" fmla="*/ 299473 h 361153"/>
                <a:gd name="connsiteX7" fmla="*/ 3771 w 361749"/>
                <a:gd name="connsiteY7" fmla="*/ 297409 h 361153"/>
                <a:gd name="connsiteX8" fmla="*/ 298481 w 361749"/>
                <a:gd name="connsiteY8" fmla="*/ 2699 h 361153"/>
                <a:gd name="connsiteX9" fmla="*/ 300743 w 361749"/>
                <a:gd name="connsiteY9" fmla="*/ 40 h 361153"/>
                <a:gd name="connsiteX10" fmla="*/ 361709 w 361749"/>
                <a:gd name="connsiteY10" fmla="*/ 40 h 3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749" h="361153">
                  <a:moveTo>
                    <a:pt x="361749" y="0"/>
                  </a:moveTo>
                  <a:cubicBezTo>
                    <a:pt x="360916" y="992"/>
                    <a:pt x="360122" y="2024"/>
                    <a:pt x="359209" y="2937"/>
                  </a:cubicBezTo>
                  <a:cubicBezTo>
                    <a:pt x="240769" y="121377"/>
                    <a:pt x="122329" y="239817"/>
                    <a:pt x="3890" y="358256"/>
                  </a:cubicBezTo>
                  <a:cubicBezTo>
                    <a:pt x="2858" y="359288"/>
                    <a:pt x="1746" y="360201"/>
                    <a:pt x="675" y="361154"/>
                  </a:cubicBezTo>
                  <a:cubicBezTo>
                    <a:pt x="437" y="361154"/>
                    <a:pt x="238" y="361154"/>
                    <a:pt x="0" y="361114"/>
                  </a:cubicBezTo>
                  <a:cubicBezTo>
                    <a:pt x="0" y="341070"/>
                    <a:pt x="0" y="321026"/>
                    <a:pt x="0" y="300981"/>
                  </a:cubicBezTo>
                  <a:cubicBezTo>
                    <a:pt x="476" y="300465"/>
                    <a:pt x="953" y="299989"/>
                    <a:pt x="1429" y="299473"/>
                  </a:cubicBezTo>
                  <a:cubicBezTo>
                    <a:pt x="2223" y="298798"/>
                    <a:pt x="3056" y="298124"/>
                    <a:pt x="3771" y="297409"/>
                  </a:cubicBezTo>
                  <a:cubicBezTo>
                    <a:pt x="102007" y="199172"/>
                    <a:pt x="200244" y="100936"/>
                    <a:pt x="298481" y="2699"/>
                  </a:cubicBezTo>
                  <a:cubicBezTo>
                    <a:pt x="299314" y="1866"/>
                    <a:pt x="299989" y="913"/>
                    <a:pt x="300743" y="40"/>
                  </a:cubicBezTo>
                  <a:cubicBezTo>
                    <a:pt x="321065" y="40"/>
                    <a:pt x="341387" y="40"/>
                    <a:pt x="361709" y="4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40DFA67-59E0-46CD-9C5F-F9E447C817C0}"/>
                </a:ext>
              </a:extLst>
            </p:cNvPr>
            <p:cNvSpPr/>
            <p:nvPr/>
          </p:nvSpPr>
          <p:spPr>
            <a:xfrm>
              <a:off x="668198" y="773567"/>
              <a:ext cx="310467" cy="310508"/>
            </a:xfrm>
            <a:custGeom>
              <a:avLst/>
              <a:gdLst>
                <a:gd name="connsiteX0" fmla="*/ 310468 w 310467"/>
                <a:gd name="connsiteY0" fmla="*/ 61760 h 310508"/>
                <a:gd name="connsiteX1" fmla="*/ 307253 w 310467"/>
                <a:gd name="connsiteY1" fmla="*/ 64618 h 310508"/>
                <a:gd name="connsiteX2" fmla="*/ 64658 w 310467"/>
                <a:gd name="connsiteY2" fmla="*/ 307332 h 310508"/>
                <a:gd name="connsiteX3" fmla="*/ 56759 w 310467"/>
                <a:gd name="connsiteY3" fmla="*/ 310507 h 310508"/>
                <a:gd name="connsiteX4" fmla="*/ 0 w 310467"/>
                <a:gd name="connsiteY4" fmla="*/ 310428 h 310508"/>
                <a:gd name="connsiteX5" fmla="*/ 2461 w 310467"/>
                <a:gd name="connsiteY5" fmla="*/ 307610 h 310508"/>
                <a:gd name="connsiteX6" fmla="*/ 308086 w 310467"/>
                <a:gd name="connsiteY6" fmla="*/ 1985 h 310508"/>
                <a:gd name="connsiteX7" fmla="*/ 310468 w 310467"/>
                <a:gd name="connsiteY7" fmla="*/ 0 h 310508"/>
                <a:gd name="connsiteX8" fmla="*/ 310468 w 310467"/>
                <a:gd name="connsiteY8" fmla="*/ 61760 h 3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467" h="310508">
                  <a:moveTo>
                    <a:pt x="310468" y="61760"/>
                  </a:moveTo>
                  <a:cubicBezTo>
                    <a:pt x="309396" y="62713"/>
                    <a:pt x="308285" y="63586"/>
                    <a:pt x="307253" y="64618"/>
                  </a:cubicBezTo>
                  <a:cubicBezTo>
                    <a:pt x="226361" y="145509"/>
                    <a:pt x="145470" y="226361"/>
                    <a:pt x="64658" y="307332"/>
                  </a:cubicBezTo>
                  <a:cubicBezTo>
                    <a:pt x="62276" y="309713"/>
                    <a:pt x="59974" y="310547"/>
                    <a:pt x="56759" y="310507"/>
                  </a:cubicBezTo>
                  <a:cubicBezTo>
                    <a:pt x="38025" y="310388"/>
                    <a:pt x="19330" y="310428"/>
                    <a:pt x="0" y="310428"/>
                  </a:cubicBezTo>
                  <a:cubicBezTo>
                    <a:pt x="1032" y="309237"/>
                    <a:pt x="1707" y="308364"/>
                    <a:pt x="2461" y="307610"/>
                  </a:cubicBezTo>
                  <a:cubicBezTo>
                    <a:pt x="104349" y="205721"/>
                    <a:pt x="206198" y="103873"/>
                    <a:pt x="308086" y="1985"/>
                  </a:cubicBezTo>
                  <a:cubicBezTo>
                    <a:pt x="308801" y="1270"/>
                    <a:pt x="309674" y="635"/>
                    <a:pt x="310468" y="0"/>
                  </a:cubicBezTo>
                  <a:lnTo>
                    <a:pt x="310468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EAAE20-044F-40AD-BDC4-DAADF04B4B4B}"/>
                </a:ext>
              </a:extLst>
            </p:cNvPr>
            <p:cNvSpPr/>
            <p:nvPr/>
          </p:nvSpPr>
          <p:spPr>
            <a:xfrm>
              <a:off x="551942" y="657151"/>
              <a:ext cx="241404" cy="240054"/>
            </a:xfrm>
            <a:custGeom>
              <a:avLst/>
              <a:gdLst>
                <a:gd name="connsiteX0" fmla="*/ 241404 w 241404"/>
                <a:gd name="connsiteY0" fmla="*/ 0 h 240054"/>
                <a:gd name="connsiteX1" fmla="*/ 239420 w 241404"/>
                <a:gd name="connsiteY1" fmla="*/ 2382 h 240054"/>
                <a:gd name="connsiteX2" fmla="*/ 3572 w 241404"/>
                <a:gd name="connsiteY2" fmla="*/ 238229 h 240054"/>
                <a:gd name="connsiteX3" fmla="*/ 1508 w 241404"/>
                <a:gd name="connsiteY3" fmla="*/ 240055 h 240054"/>
                <a:gd name="connsiteX4" fmla="*/ 0 w 241404"/>
                <a:gd name="connsiteY4" fmla="*/ 239181 h 240054"/>
                <a:gd name="connsiteX5" fmla="*/ 0 w 241404"/>
                <a:gd name="connsiteY5" fmla="*/ 181351 h 240054"/>
                <a:gd name="connsiteX6" fmla="*/ 595 w 241404"/>
                <a:gd name="connsiteY6" fmla="*/ 179724 h 240054"/>
                <a:gd name="connsiteX7" fmla="*/ 1469 w 241404"/>
                <a:gd name="connsiteY7" fmla="*/ 178295 h 240054"/>
                <a:gd name="connsiteX8" fmla="*/ 3533 w 241404"/>
                <a:gd name="connsiteY8" fmla="*/ 176509 h 240054"/>
                <a:gd name="connsiteX9" fmla="*/ 177620 w 241404"/>
                <a:gd name="connsiteY9" fmla="*/ 2382 h 240054"/>
                <a:gd name="connsiteX10" fmla="*/ 179604 w 241404"/>
                <a:gd name="connsiteY10" fmla="*/ 0 h 240054"/>
                <a:gd name="connsiteX11" fmla="*/ 241365 w 241404"/>
                <a:gd name="connsiteY11" fmla="*/ 0 h 24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404" h="240054">
                  <a:moveTo>
                    <a:pt x="241404" y="0"/>
                  </a:moveTo>
                  <a:cubicBezTo>
                    <a:pt x="240729" y="794"/>
                    <a:pt x="240134" y="1667"/>
                    <a:pt x="239420" y="2382"/>
                  </a:cubicBezTo>
                  <a:cubicBezTo>
                    <a:pt x="160830" y="81011"/>
                    <a:pt x="82201" y="159640"/>
                    <a:pt x="3572" y="238229"/>
                  </a:cubicBezTo>
                  <a:cubicBezTo>
                    <a:pt x="2937" y="238864"/>
                    <a:pt x="2183" y="239420"/>
                    <a:pt x="1508" y="240055"/>
                  </a:cubicBezTo>
                  <a:cubicBezTo>
                    <a:pt x="992" y="239777"/>
                    <a:pt x="516" y="239459"/>
                    <a:pt x="0" y="239181"/>
                  </a:cubicBezTo>
                  <a:cubicBezTo>
                    <a:pt x="0" y="219891"/>
                    <a:pt x="0" y="200641"/>
                    <a:pt x="0" y="181351"/>
                  </a:cubicBezTo>
                  <a:cubicBezTo>
                    <a:pt x="198" y="180795"/>
                    <a:pt x="397" y="180279"/>
                    <a:pt x="595" y="179724"/>
                  </a:cubicBezTo>
                  <a:cubicBezTo>
                    <a:pt x="873" y="179247"/>
                    <a:pt x="1151" y="178771"/>
                    <a:pt x="1469" y="178295"/>
                  </a:cubicBezTo>
                  <a:cubicBezTo>
                    <a:pt x="2143" y="177699"/>
                    <a:pt x="2897" y="177144"/>
                    <a:pt x="3533" y="176509"/>
                  </a:cubicBezTo>
                  <a:cubicBezTo>
                    <a:pt x="61562" y="118479"/>
                    <a:pt x="119591" y="60450"/>
                    <a:pt x="177620" y="2382"/>
                  </a:cubicBezTo>
                  <a:cubicBezTo>
                    <a:pt x="178334" y="1667"/>
                    <a:pt x="178969" y="794"/>
                    <a:pt x="179604" y="0"/>
                  </a:cubicBezTo>
                  <a:cubicBezTo>
                    <a:pt x="200204" y="0"/>
                    <a:pt x="220804" y="0"/>
                    <a:pt x="241365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3FFB2C8-2AA8-4BFA-8F82-8A7086395245}"/>
                </a:ext>
              </a:extLst>
            </p:cNvPr>
            <p:cNvSpPr/>
            <p:nvPr/>
          </p:nvSpPr>
          <p:spPr>
            <a:xfrm>
              <a:off x="789377" y="894745"/>
              <a:ext cx="189289" cy="189290"/>
            </a:xfrm>
            <a:custGeom>
              <a:avLst/>
              <a:gdLst>
                <a:gd name="connsiteX0" fmla="*/ 189289 w 189289"/>
                <a:gd name="connsiteY0" fmla="*/ 61760 h 189290"/>
                <a:gd name="connsiteX1" fmla="*/ 186074 w 189289"/>
                <a:gd name="connsiteY1" fmla="*/ 64618 h 189290"/>
                <a:gd name="connsiteX2" fmla="*/ 64380 w 189289"/>
                <a:gd name="connsiteY2" fmla="*/ 186392 h 189290"/>
                <a:gd name="connsiteX3" fmla="*/ 57156 w 189289"/>
                <a:gd name="connsiteY3" fmla="*/ 189289 h 189290"/>
                <a:gd name="connsiteX4" fmla="*/ 0 w 189289"/>
                <a:gd name="connsiteY4" fmla="*/ 189249 h 189290"/>
                <a:gd name="connsiteX5" fmla="*/ 1905 w 189289"/>
                <a:gd name="connsiteY5" fmla="*/ 186987 h 189290"/>
                <a:gd name="connsiteX6" fmla="*/ 187463 w 189289"/>
                <a:gd name="connsiteY6" fmla="*/ 1429 h 189290"/>
                <a:gd name="connsiteX7" fmla="*/ 189289 w 189289"/>
                <a:gd name="connsiteY7" fmla="*/ 0 h 189290"/>
                <a:gd name="connsiteX8" fmla="*/ 189289 w 189289"/>
                <a:gd name="connsiteY8" fmla="*/ 61760 h 18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289" h="189290">
                  <a:moveTo>
                    <a:pt x="189289" y="61760"/>
                  </a:moveTo>
                  <a:cubicBezTo>
                    <a:pt x="188217" y="62713"/>
                    <a:pt x="187106" y="63586"/>
                    <a:pt x="186074" y="64618"/>
                  </a:cubicBezTo>
                  <a:cubicBezTo>
                    <a:pt x="145470" y="105183"/>
                    <a:pt x="104865" y="145748"/>
                    <a:pt x="64380" y="186392"/>
                  </a:cubicBezTo>
                  <a:cubicBezTo>
                    <a:pt x="62236" y="188535"/>
                    <a:pt x="60133" y="189329"/>
                    <a:pt x="57156" y="189289"/>
                  </a:cubicBezTo>
                  <a:cubicBezTo>
                    <a:pt x="38302" y="189170"/>
                    <a:pt x="19449" y="189249"/>
                    <a:pt x="0" y="189249"/>
                  </a:cubicBezTo>
                  <a:cubicBezTo>
                    <a:pt x="834" y="188257"/>
                    <a:pt x="1310" y="187543"/>
                    <a:pt x="1905" y="186987"/>
                  </a:cubicBezTo>
                  <a:cubicBezTo>
                    <a:pt x="63745" y="125108"/>
                    <a:pt x="125624" y="63268"/>
                    <a:pt x="187463" y="1429"/>
                  </a:cubicBezTo>
                  <a:cubicBezTo>
                    <a:pt x="188019" y="873"/>
                    <a:pt x="188694" y="476"/>
                    <a:pt x="189289" y="0"/>
                  </a:cubicBezTo>
                  <a:lnTo>
                    <a:pt x="189289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F93B615-53CA-4A36-AB72-0F6AFEB4BDFE}"/>
                </a:ext>
              </a:extLst>
            </p:cNvPr>
            <p:cNvSpPr/>
            <p:nvPr/>
          </p:nvSpPr>
          <p:spPr>
            <a:xfrm>
              <a:off x="552022" y="657151"/>
              <a:ext cx="120225" cy="118876"/>
            </a:xfrm>
            <a:custGeom>
              <a:avLst/>
              <a:gdLst>
                <a:gd name="connsiteX0" fmla="*/ 120186 w 120225"/>
                <a:gd name="connsiteY0" fmla="*/ 0 h 118876"/>
                <a:gd name="connsiteX1" fmla="*/ 118479 w 120225"/>
                <a:gd name="connsiteY1" fmla="*/ 2104 h 118876"/>
                <a:gd name="connsiteX2" fmla="*/ 2977 w 120225"/>
                <a:gd name="connsiteY2" fmla="*/ 117606 h 118876"/>
                <a:gd name="connsiteX3" fmla="*/ 1508 w 120225"/>
                <a:gd name="connsiteY3" fmla="*/ 118876 h 118876"/>
                <a:gd name="connsiteX4" fmla="*/ 0 w 120225"/>
                <a:gd name="connsiteY4" fmla="*/ 118003 h 118876"/>
                <a:gd name="connsiteX5" fmla="*/ 0 w 120225"/>
                <a:gd name="connsiteY5" fmla="*/ 59379 h 118876"/>
                <a:gd name="connsiteX6" fmla="*/ 1270 w 120225"/>
                <a:gd name="connsiteY6" fmla="*/ 57791 h 118876"/>
                <a:gd name="connsiteX7" fmla="*/ 52829 w 120225"/>
                <a:gd name="connsiteY7" fmla="*/ 5993 h 118876"/>
                <a:gd name="connsiteX8" fmla="*/ 58466 w 120225"/>
                <a:gd name="connsiteY8" fmla="*/ 0 h 118876"/>
                <a:gd name="connsiteX9" fmla="*/ 120226 w 120225"/>
                <a:gd name="connsiteY9" fmla="*/ 0 h 11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25" h="118876">
                  <a:moveTo>
                    <a:pt x="120186" y="0"/>
                  </a:moveTo>
                  <a:cubicBezTo>
                    <a:pt x="119630" y="714"/>
                    <a:pt x="119114" y="1469"/>
                    <a:pt x="118479" y="2104"/>
                  </a:cubicBezTo>
                  <a:cubicBezTo>
                    <a:pt x="79979" y="40605"/>
                    <a:pt x="41478" y="79105"/>
                    <a:pt x="2977" y="117606"/>
                  </a:cubicBezTo>
                  <a:cubicBezTo>
                    <a:pt x="2501" y="118082"/>
                    <a:pt x="1985" y="118440"/>
                    <a:pt x="1508" y="118876"/>
                  </a:cubicBezTo>
                  <a:cubicBezTo>
                    <a:pt x="992" y="118598"/>
                    <a:pt x="516" y="118281"/>
                    <a:pt x="0" y="118003"/>
                  </a:cubicBezTo>
                  <a:cubicBezTo>
                    <a:pt x="0" y="98475"/>
                    <a:pt x="0" y="78907"/>
                    <a:pt x="0" y="59379"/>
                  </a:cubicBezTo>
                  <a:cubicBezTo>
                    <a:pt x="437" y="58863"/>
                    <a:pt x="834" y="58307"/>
                    <a:pt x="1270" y="57791"/>
                  </a:cubicBezTo>
                  <a:cubicBezTo>
                    <a:pt x="18457" y="40525"/>
                    <a:pt x="35643" y="23259"/>
                    <a:pt x="52829" y="5993"/>
                  </a:cubicBezTo>
                  <a:cubicBezTo>
                    <a:pt x="54774" y="4049"/>
                    <a:pt x="56600" y="1985"/>
                    <a:pt x="58466" y="0"/>
                  </a:cubicBezTo>
                  <a:cubicBezTo>
                    <a:pt x="79066" y="0"/>
                    <a:pt x="99666" y="0"/>
                    <a:pt x="12022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CF23AED-D1A6-42EF-BEC5-E0FC7E2C1F0E}"/>
                </a:ext>
              </a:extLst>
            </p:cNvPr>
            <p:cNvSpPr/>
            <p:nvPr/>
          </p:nvSpPr>
          <p:spPr>
            <a:xfrm>
              <a:off x="910396" y="1015884"/>
              <a:ext cx="68269" cy="68110"/>
            </a:xfrm>
            <a:custGeom>
              <a:avLst/>
              <a:gdLst>
                <a:gd name="connsiteX0" fmla="*/ 68270 w 68269"/>
                <a:gd name="connsiteY0" fmla="*/ 68111 h 68110"/>
                <a:gd name="connsiteX1" fmla="*/ 0 w 68269"/>
                <a:gd name="connsiteY1" fmla="*/ 68111 h 68110"/>
                <a:gd name="connsiteX2" fmla="*/ 1826 w 68269"/>
                <a:gd name="connsiteY2" fmla="*/ 66047 h 68110"/>
                <a:gd name="connsiteX3" fmla="*/ 66444 w 68269"/>
                <a:gd name="connsiteY3" fmla="*/ 1429 h 68110"/>
                <a:gd name="connsiteX4" fmla="*/ 68270 w 68269"/>
                <a:gd name="connsiteY4" fmla="*/ 0 h 68110"/>
                <a:gd name="connsiteX5" fmla="*/ 68270 w 68269"/>
                <a:gd name="connsiteY5" fmla="*/ 68111 h 6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9" h="68110">
                  <a:moveTo>
                    <a:pt x="68270" y="68111"/>
                  </a:moveTo>
                  <a:lnTo>
                    <a:pt x="0" y="68111"/>
                  </a:lnTo>
                  <a:cubicBezTo>
                    <a:pt x="873" y="67118"/>
                    <a:pt x="1310" y="66563"/>
                    <a:pt x="1826" y="66047"/>
                  </a:cubicBezTo>
                  <a:cubicBezTo>
                    <a:pt x="23378" y="44494"/>
                    <a:pt x="44891" y="22942"/>
                    <a:pt x="66444" y="1429"/>
                  </a:cubicBezTo>
                  <a:cubicBezTo>
                    <a:pt x="66999" y="873"/>
                    <a:pt x="67634" y="476"/>
                    <a:pt x="68270" y="0"/>
                  </a:cubicBezTo>
                  <a:lnTo>
                    <a:pt x="68270" y="6811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2147B36C-B336-4D88-B132-32E507F660EA}"/>
              </a:ext>
            </a:extLst>
          </p:cNvPr>
          <p:cNvSpPr/>
          <p:nvPr userDrawn="1"/>
        </p:nvSpPr>
        <p:spPr>
          <a:xfrm>
            <a:off x="553013" y="5771266"/>
            <a:ext cx="424620" cy="424620"/>
          </a:xfrm>
          <a:custGeom>
            <a:avLst/>
            <a:gdLst>
              <a:gd name="connsiteX0" fmla="*/ 424621 w 424620"/>
              <a:gd name="connsiteY0" fmla="*/ 0 h 424620"/>
              <a:gd name="connsiteX1" fmla="*/ 0 w 424620"/>
              <a:gd name="connsiteY1" fmla="*/ 0 h 424620"/>
              <a:gd name="connsiteX2" fmla="*/ 0 w 424620"/>
              <a:gd name="connsiteY2" fmla="*/ 424621 h 424620"/>
              <a:gd name="connsiteX3" fmla="*/ 424621 w 424620"/>
              <a:gd name="connsiteY3" fmla="*/ 424621 h 424620"/>
              <a:gd name="connsiteX4" fmla="*/ 424621 w 424620"/>
              <a:gd name="connsiteY4" fmla="*/ 0 h 424620"/>
              <a:gd name="connsiteX5" fmla="*/ 315111 w 424620"/>
              <a:gd name="connsiteY5" fmla="*/ 219614 h 424620"/>
              <a:gd name="connsiteX6" fmla="*/ 257717 w 424620"/>
              <a:gd name="connsiteY6" fmla="*/ 276333 h 424620"/>
              <a:gd name="connsiteX7" fmla="*/ 215684 w 424620"/>
              <a:gd name="connsiteY7" fmla="*/ 318446 h 424620"/>
              <a:gd name="connsiteX8" fmla="*/ 208976 w 424620"/>
              <a:gd name="connsiteY8" fmla="*/ 318604 h 424620"/>
              <a:gd name="connsiteX9" fmla="*/ 183455 w 424620"/>
              <a:gd name="connsiteY9" fmla="*/ 293003 h 424620"/>
              <a:gd name="connsiteX10" fmla="*/ 165038 w 424620"/>
              <a:gd name="connsiteY10" fmla="*/ 275182 h 424620"/>
              <a:gd name="connsiteX11" fmla="*/ 147137 w 424620"/>
              <a:gd name="connsiteY11" fmla="*/ 256844 h 424620"/>
              <a:gd name="connsiteX12" fmla="*/ 128879 w 424620"/>
              <a:gd name="connsiteY12" fmla="*/ 238864 h 424620"/>
              <a:gd name="connsiteX13" fmla="*/ 108715 w 424620"/>
              <a:gd name="connsiteY13" fmla="*/ 218224 h 424620"/>
              <a:gd name="connsiteX14" fmla="*/ 109827 w 424620"/>
              <a:gd name="connsiteY14" fmla="*/ 212509 h 424620"/>
              <a:gd name="connsiteX15" fmla="*/ 156266 w 424620"/>
              <a:gd name="connsiteY15" fmla="*/ 166347 h 424620"/>
              <a:gd name="connsiteX16" fmla="*/ 208738 w 424620"/>
              <a:gd name="connsiteY16" fmla="*/ 113796 h 424620"/>
              <a:gd name="connsiteX17" fmla="*/ 215763 w 424620"/>
              <a:gd name="connsiteY17" fmla="*/ 113677 h 424620"/>
              <a:gd name="connsiteX18" fmla="*/ 237435 w 424620"/>
              <a:gd name="connsiteY18" fmla="*/ 135388 h 424620"/>
              <a:gd name="connsiteX19" fmla="*/ 255852 w 424620"/>
              <a:gd name="connsiteY19" fmla="*/ 153210 h 424620"/>
              <a:gd name="connsiteX20" fmla="*/ 273753 w 424620"/>
              <a:gd name="connsiteY20" fmla="*/ 171547 h 424620"/>
              <a:gd name="connsiteX21" fmla="*/ 292011 w 424620"/>
              <a:gd name="connsiteY21" fmla="*/ 189527 h 424620"/>
              <a:gd name="connsiteX22" fmla="*/ 309872 w 424620"/>
              <a:gd name="connsiteY22" fmla="*/ 207309 h 424620"/>
              <a:gd name="connsiteX23" fmla="*/ 314754 w 424620"/>
              <a:gd name="connsiteY23" fmla="*/ 212112 h 424620"/>
              <a:gd name="connsiteX24" fmla="*/ 317850 w 424620"/>
              <a:gd name="connsiteY24" fmla="*/ 215644 h 424620"/>
              <a:gd name="connsiteX25" fmla="*/ 315151 w 424620"/>
              <a:gd name="connsiteY25" fmla="*/ 219693 h 424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4620" h="424620">
                <a:moveTo>
                  <a:pt x="424621" y="0"/>
                </a:moveTo>
                <a:lnTo>
                  <a:pt x="0" y="0"/>
                </a:lnTo>
                <a:lnTo>
                  <a:pt x="0" y="424621"/>
                </a:lnTo>
                <a:lnTo>
                  <a:pt x="424621" y="424621"/>
                </a:lnTo>
                <a:cubicBezTo>
                  <a:pt x="424621" y="356669"/>
                  <a:pt x="424621" y="68944"/>
                  <a:pt x="424621" y="0"/>
                </a:cubicBezTo>
                <a:close/>
                <a:moveTo>
                  <a:pt x="315111" y="219614"/>
                </a:moveTo>
                <a:cubicBezTo>
                  <a:pt x="296020" y="238546"/>
                  <a:pt x="276809" y="257400"/>
                  <a:pt x="257717" y="276333"/>
                </a:cubicBezTo>
                <a:cubicBezTo>
                  <a:pt x="243627" y="290304"/>
                  <a:pt x="229616" y="304315"/>
                  <a:pt x="215684" y="318446"/>
                </a:cubicBezTo>
                <a:cubicBezTo>
                  <a:pt x="213184" y="320986"/>
                  <a:pt x="211556" y="321264"/>
                  <a:pt x="208976" y="318604"/>
                </a:cubicBezTo>
                <a:cubicBezTo>
                  <a:pt x="200601" y="309952"/>
                  <a:pt x="192028" y="301458"/>
                  <a:pt x="183455" y="293003"/>
                </a:cubicBezTo>
                <a:cubicBezTo>
                  <a:pt x="177382" y="287010"/>
                  <a:pt x="171071" y="281215"/>
                  <a:pt x="165038" y="275182"/>
                </a:cubicBezTo>
                <a:cubicBezTo>
                  <a:pt x="159004" y="269149"/>
                  <a:pt x="153170" y="262877"/>
                  <a:pt x="147137" y="256844"/>
                </a:cubicBezTo>
                <a:cubicBezTo>
                  <a:pt x="141104" y="250771"/>
                  <a:pt x="134912" y="244937"/>
                  <a:pt x="128879" y="238864"/>
                </a:cubicBezTo>
                <a:cubicBezTo>
                  <a:pt x="122091" y="232037"/>
                  <a:pt x="115503" y="225051"/>
                  <a:pt x="108715" y="218224"/>
                </a:cubicBezTo>
                <a:cubicBezTo>
                  <a:pt x="106175" y="215644"/>
                  <a:pt x="108239" y="214096"/>
                  <a:pt x="109827" y="212509"/>
                </a:cubicBezTo>
                <a:cubicBezTo>
                  <a:pt x="125306" y="197108"/>
                  <a:pt x="140826" y="181748"/>
                  <a:pt x="156266" y="166347"/>
                </a:cubicBezTo>
                <a:cubicBezTo>
                  <a:pt x="173809" y="148883"/>
                  <a:pt x="191313" y="131379"/>
                  <a:pt x="208738" y="113796"/>
                </a:cubicBezTo>
                <a:cubicBezTo>
                  <a:pt x="211358" y="111136"/>
                  <a:pt x="213064" y="110859"/>
                  <a:pt x="215763" y="113677"/>
                </a:cubicBezTo>
                <a:cubicBezTo>
                  <a:pt x="222829" y="121059"/>
                  <a:pt x="230132" y="128204"/>
                  <a:pt x="237435" y="135388"/>
                </a:cubicBezTo>
                <a:cubicBezTo>
                  <a:pt x="243508" y="141381"/>
                  <a:pt x="249819" y="147176"/>
                  <a:pt x="255852" y="153210"/>
                </a:cubicBezTo>
                <a:cubicBezTo>
                  <a:pt x="261885" y="159243"/>
                  <a:pt x="267720" y="165514"/>
                  <a:pt x="273753" y="171547"/>
                </a:cubicBezTo>
                <a:cubicBezTo>
                  <a:pt x="279786" y="177620"/>
                  <a:pt x="285938" y="183534"/>
                  <a:pt x="292011" y="189527"/>
                </a:cubicBezTo>
                <a:cubicBezTo>
                  <a:pt x="297965" y="195441"/>
                  <a:pt x="303918" y="201355"/>
                  <a:pt x="309872" y="207309"/>
                </a:cubicBezTo>
                <a:cubicBezTo>
                  <a:pt x="311500" y="208937"/>
                  <a:pt x="313167" y="210484"/>
                  <a:pt x="314754" y="212112"/>
                </a:cubicBezTo>
                <a:cubicBezTo>
                  <a:pt x="315786" y="213184"/>
                  <a:pt x="316699" y="214335"/>
                  <a:pt x="317850" y="215644"/>
                </a:cubicBezTo>
                <a:cubicBezTo>
                  <a:pt x="316818" y="217232"/>
                  <a:pt x="316183" y="218661"/>
                  <a:pt x="315151" y="219693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6C041F38-8DA3-4822-BDAF-5949CE8E6D57}"/>
              </a:ext>
            </a:extLst>
          </p:cNvPr>
          <p:cNvSpPr/>
          <p:nvPr userDrawn="1"/>
        </p:nvSpPr>
        <p:spPr>
          <a:xfrm rot="2700000">
            <a:off x="653456" y="3314929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987A4369-0D90-4653-9E88-4AA912F015E7}"/>
              </a:ext>
            </a:extLst>
          </p:cNvPr>
          <p:cNvSpPr/>
          <p:nvPr userDrawn="1"/>
        </p:nvSpPr>
        <p:spPr>
          <a:xfrm rot="2700000">
            <a:off x="11277666" y="718171"/>
            <a:ext cx="294630" cy="294630"/>
          </a:xfrm>
          <a:custGeom>
            <a:avLst/>
            <a:gdLst>
              <a:gd name="connsiteX0" fmla="*/ 0 w 294630"/>
              <a:gd name="connsiteY0" fmla="*/ 0 h 294630"/>
              <a:gd name="connsiteX1" fmla="*/ 294631 w 294630"/>
              <a:gd name="connsiteY1" fmla="*/ 0 h 294630"/>
              <a:gd name="connsiteX2" fmla="*/ 294631 w 294630"/>
              <a:gd name="connsiteY2" fmla="*/ 294631 h 294630"/>
              <a:gd name="connsiteX3" fmla="*/ 0 w 294630"/>
              <a:gd name="connsiteY3" fmla="*/ 294631 h 29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30" h="294630">
                <a:moveTo>
                  <a:pt x="0" y="0"/>
                </a:moveTo>
                <a:lnTo>
                  <a:pt x="294631" y="0"/>
                </a:lnTo>
                <a:lnTo>
                  <a:pt x="294631" y="294631"/>
                </a:lnTo>
                <a:lnTo>
                  <a:pt x="0" y="294631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28B93975-C6F4-4136-B0F0-6DFEC9B9075B}"/>
              </a:ext>
            </a:extLst>
          </p:cNvPr>
          <p:cNvSpPr/>
          <p:nvPr userDrawn="1"/>
        </p:nvSpPr>
        <p:spPr>
          <a:xfrm>
            <a:off x="11211937" y="5768170"/>
            <a:ext cx="426089" cy="427716"/>
          </a:xfrm>
          <a:custGeom>
            <a:avLst/>
            <a:gdLst>
              <a:gd name="connsiteX0" fmla="*/ 426089 w 426089"/>
              <a:gd name="connsiteY0" fmla="*/ 422517 h 427716"/>
              <a:gd name="connsiteX1" fmla="*/ 426049 w 426089"/>
              <a:gd name="connsiteY1" fmla="*/ 421842 h 427716"/>
              <a:gd name="connsiteX2" fmla="*/ 426049 w 426089"/>
              <a:gd name="connsiteY2" fmla="*/ 0 h 427716"/>
              <a:gd name="connsiteX3" fmla="*/ 0 w 426089"/>
              <a:gd name="connsiteY3" fmla="*/ 0 h 427716"/>
              <a:gd name="connsiteX4" fmla="*/ 0 w 426089"/>
              <a:gd name="connsiteY4" fmla="*/ 4088 h 427716"/>
              <a:gd name="connsiteX5" fmla="*/ 238 w 426089"/>
              <a:gd name="connsiteY5" fmla="*/ 5755 h 427716"/>
              <a:gd name="connsiteX6" fmla="*/ 5239 w 426089"/>
              <a:gd name="connsiteY6" fmla="*/ 66920 h 427716"/>
              <a:gd name="connsiteX7" fmla="*/ 16988 w 426089"/>
              <a:gd name="connsiteY7" fmla="*/ 120543 h 427716"/>
              <a:gd name="connsiteX8" fmla="*/ 39692 w 426089"/>
              <a:gd name="connsiteY8" fmla="*/ 182026 h 427716"/>
              <a:gd name="connsiteX9" fmla="*/ 57870 w 426089"/>
              <a:gd name="connsiteY9" fmla="*/ 216676 h 427716"/>
              <a:gd name="connsiteX10" fmla="*/ 113835 w 426089"/>
              <a:gd name="connsiteY10" fmla="*/ 292606 h 427716"/>
              <a:gd name="connsiteX11" fmla="*/ 171865 w 426089"/>
              <a:gd name="connsiteY11" fmla="*/ 344920 h 427716"/>
              <a:gd name="connsiteX12" fmla="*/ 218859 w 426089"/>
              <a:gd name="connsiteY12" fmla="*/ 375800 h 427716"/>
              <a:gd name="connsiteX13" fmla="*/ 289074 w 426089"/>
              <a:gd name="connsiteY13" fmla="*/ 407871 h 427716"/>
              <a:gd name="connsiteX14" fmla="*/ 375165 w 426089"/>
              <a:gd name="connsiteY14" fmla="*/ 427677 h 427716"/>
              <a:gd name="connsiteX15" fmla="*/ 375641 w 426089"/>
              <a:gd name="connsiteY15" fmla="*/ 427717 h 427716"/>
              <a:gd name="connsiteX16" fmla="*/ 426049 w 426089"/>
              <a:gd name="connsiteY16" fmla="*/ 427717 h 427716"/>
              <a:gd name="connsiteX17" fmla="*/ 426049 w 426089"/>
              <a:gd name="connsiteY17" fmla="*/ 422477 h 42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26089" h="427716">
                <a:moveTo>
                  <a:pt x="426089" y="422517"/>
                </a:moveTo>
                <a:cubicBezTo>
                  <a:pt x="426089" y="422279"/>
                  <a:pt x="426049" y="422080"/>
                  <a:pt x="426049" y="421842"/>
                </a:cubicBezTo>
                <a:cubicBezTo>
                  <a:pt x="426049" y="404894"/>
                  <a:pt x="426049" y="18536"/>
                  <a:pt x="426049" y="0"/>
                </a:cubicBezTo>
                <a:lnTo>
                  <a:pt x="0" y="0"/>
                </a:lnTo>
                <a:lnTo>
                  <a:pt x="0" y="4088"/>
                </a:lnTo>
                <a:cubicBezTo>
                  <a:pt x="119" y="4565"/>
                  <a:pt x="198" y="5120"/>
                  <a:pt x="238" y="5755"/>
                </a:cubicBezTo>
                <a:cubicBezTo>
                  <a:pt x="1707" y="26157"/>
                  <a:pt x="2342" y="46717"/>
                  <a:pt x="5239" y="66920"/>
                </a:cubicBezTo>
                <a:cubicBezTo>
                  <a:pt x="7819" y="84980"/>
                  <a:pt x="12543" y="102801"/>
                  <a:pt x="16988" y="120543"/>
                </a:cubicBezTo>
                <a:cubicBezTo>
                  <a:pt x="22346" y="141818"/>
                  <a:pt x="30523" y="162140"/>
                  <a:pt x="39692" y="182026"/>
                </a:cubicBezTo>
                <a:cubicBezTo>
                  <a:pt x="45129" y="193854"/>
                  <a:pt x="51480" y="205325"/>
                  <a:pt x="57870" y="216676"/>
                </a:cubicBezTo>
                <a:cubicBezTo>
                  <a:pt x="73429" y="244222"/>
                  <a:pt x="92362" y="269307"/>
                  <a:pt x="113835" y="292606"/>
                </a:cubicBezTo>
                <a:cubicBezTo>
                  <a:pt x="131578" y="311896"/>
                  <a:pt x="150471" y="329837"/>
                  <a:pt x="171865" y="344920"/>
                </a:cubicBezTo>
                <a:cubicBezTo>
                  <a:pt x="187186" y="355716"/>
                  <a:pt x="202903" y="365956"/>
                  <a:pt x="218859" y="375800"/>
                </a:cubicBezTo>
                <a:cubicBezTo>
                  <a:pt x="240888" y="389414"/>
                  <a:pt x="264663" y="399456"/>
                  <a:pt x="289074" y="407871"/>
                </a:cubicBezTo>
                <a:cubicBezTo>
                  <a:pt x="317056" y="417476"/>
                  <a:pt x="345674" y="424581"/>
                  <a:pt x="375165" y="427677"/>
                </a:cubicBezTo>
                <a:cubicBezTo>
                  <a:pt x="375324" y="427677"/>
                  <a:pt x="375482" y="427677"/>
                  <a:pt x="375641" y="427717"/>
                </a:cubicBezTo>
                <a:lnTo>
                  <a:pt x="426049" y="427717"/>
                </a:lnTo>
                <a:lnTo>
                  <a:pt x="426049" y="422477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A6434C7-A2F5-441D-8127-C143331A282F}"/>
              </a:ext>
            </a:extLst>
          </p:cNvPr>
          <p:cNvSpPr/>
          <p:nvPr userDrawn="1"/>
        </p:nvSpPr>
        <p:spPr>
          <a:xfrm>
            <a:off x="11263759" y="3279795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DF08CE04-ED66-430E-85D4-0A84018F09D8}"/>
              </a:ext>
            </a:extLst>
          </p:cNvPr>
          <p:cNvSpPr/>
          <p:nvPr userDrawn="1"/>
        </p:nvSpPr>
        <p:spPr>
          <a:xfrm>
            <a:off x="9313129" y="139345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79A3FEA2-91E9-43C2-B1CE-E47773467B45}"/>
              </a:ext>
            </a:extLst>
          </p:cNvPr>
          <p:cNvSpPr/>
          <p:nvPr userDrawn="1"/>
        </p:nvSpPr>
        <p:spPr>
          <a:xfrm>
            <a:off x="2667716" y="1455514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A293157E-3167-479C-A5CB-FA018F9AD70E}"/>
              </a:ext>
            </a:extLst>
          </p:cNvPr>
          <p:cNvSpPr/>
          <p:nvPr userDrawn="1"/>
        </p:nvSpPr>
        <p:spPr>
          <a:xfrm rot="2700000">
            <a:off x="2697865" y="5221378"/>
            <a:ext cx="145571" cy="14557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41CAFFC0-4B20-49BE-9129-2C84B4902AB6}"/>
              </a:ext>
            </a:extLst>
          </p:cNvPr>
          <p:cNvSpPr/>
          <p:nvPr userDrawn="1"/>
        </p:nvSpPr>
        <p:spPr>
          <a:xfrm>
            <a:off x="9313129" y="517772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04F4D62A-A523-4721-A3EA-8927DCEE3B57}"/>
              </a:ext>
            </a:extLst>
          </p:cNvPr>
          <p:cNvSpPr/>
          <p:nvPr userDrawn="1"/>
        </p:nvSpPr>
        <p:spPr>
          <a:xfrm rot="2700000">
            <a:off x="3940117" y="943225"/>
            <a:ext cx="162161" cy="16216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2D5F8B8B-5E4E-4637-BE8E-37A87E64293F}"/>
              </a:ext>
            </a:extLst>
          </p:cNvPr>
          <p:cNvSpPr/>
          <p:nvPr userDrawn="1"/>
        </p:nvSpPr>
        <p:spPr>
          <a:xfrm>
            <a:off x="3904344" y="5706460"/>
            <a:ext cx="233706" cy="233706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94" name="Graphic 48">
            <a:extLst>
              <a:ext uri="{FF2B5EF4-FFF2-40B4-BE49-F238E27FC236}">
                <a16:creationId xmlns:a16="http://schemas.microsoft.com/office/drawing/2014/main" id="{B948CF26-75D2-4438-A5DA-BA3869FDA6C1}"/>
              </a:ext>
            </a:extLst>
          </p:cNvPr>
          <p:cNvGrpSpPr/>
          <p:nvPr userDrawn="1"/>
        </p:nvGrpSpPr>
        <p:grpSpPr>
          <a:xfrm>
            <a:off x="8052772" y="906818"/>
            <a:ext cx="234886" cy="234974"/>
            <a:chOff x="7651892" y="875989"/>
            <a:chExt cx="210856" cy="210935"/>
          </a:xfrm>
          <a:solidFill>
            <a:srgbClr val="00FFBC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D44BA5B-1011-4F4E-B964-1B82D938A52B}"/>
                </a:ext>
              </a:extLst>
            </p:cNvPr>
            <p:cNvSpPr/>
            <p:nvPr/>
          </p:nvSpPr>
          <p:spPr>
            <a:xfrm>
              <a:off x="7651912" y="875989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4A3D3173-373A-4CC7-A46E-19AC0A80AC88}"/>
                </a:ext>
              </a:extLst>
            </p:cNvPr>
            <p:cNvSpPr/>
            <p:nvPr/>
          </p:nvSpPr>
          <p:spPr>
            <a:xfrm>
              <a:off x="7651912" y="875989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386880E-6382-42ED-B119-4B1B2B3F308F}"/>
                </a:ext>
              </a:extLst>
            </p:cNvPr>
            <p:cNvSpPr/>
            <p:nvPr/>
          </p:nvSpPr>
          <p:spPr>
            <a:xfrm>
              <a:off x="7709332" y="933507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616F0CE-6549-4BC2-92DC-3E4F63BD7A64}"/>
                </a:ext>
              </a:extLst>
            </p:cNvPr>
            <p:cNvSpPr/>
            <p:nvPr/>
          </p:nvSpPr>
          <p:spPr>
            <a:xfrm>
              <a:off x="7651892" y="875989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11140A5-A38C-47DA-A58A-24EFC19C17D7}"/>
                </a:ext>
              </a:extLst>
            </p:cNvPr>
            <p:cNvSpPr/>
            <p:nvPr/>
          </p:nvSpPr>
          <p:spPr>
            <a:xfrm>
              <a:off x="7769205" y="993380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6F7E3316-CC19-4706-8E36-0ECD8CD36250}"/>
                </a:ext>
              </a:extLst>
            </p:cNvPr>
            <p:cNvSpPr/>
            <p:nvPr/>
          </p:nvSpPr>
          <p:spPr>
            <a:xfrm>
              <a:off x="7651931" y="875989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F5518DE-455C-48E9-A527-B33F1C2D5E81}"/>
                </a:ext>
              </a:extLst>
            </p:cNvPr>
            <p:cNvSpPr/>
            <p:nvPr/>
          </p:nvSpPr>
          <p:spPr>
            <a:xfrm>
              <a:off x="7828998" y="1053232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08310A57-994F-4C82-87E0-2DA4E42F4E50}"/>
              </a:ext>
            </a:extLst>
          </p:cNvPr>
          <p:cNvSpPr/>
          <p:nvPr userDrawn="1"/>
        </p:nvSpPr>
        <p:spPr>
          <a:xfrm>
            <a:off x="8052958" y="5705608"/>
            <a:ext cx="234515" cy="235410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406195C9-5AFB-4777-AB30-F74027192868}"/>
              </a:ext>
            </a:extLst>
          </p:cNvPr>
          <p:cNvSpPr/>
          <p:nvPr userDrawn="1"/>
        </p:nvSpPr>
        <p:spPr>
          <a:xfrm>
            <a:off x="2057941" y="3323337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00FFBC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04" name="Graphic 45">
            <a:extLst>
              <a:ext uri="{FF2B5EF4-FFF2-40B4-BE49-F238E27FC236}">
                <a16:creationId xmlns:a16="http://schemas.microsoft.com/office/drawing/2014/main" id="{E35BEC9F-7C0D-46CF-A92E-5FD1F985D017}"/>
              </a:ext>
            </a:extLst>
          </p:cNvPr>
          <p:cNvGrpSpPr/>
          <p:nvPr userDrawn="1"/>
        </p:nvGrpSpPr>
        <p:grpSpPr>
          <a:xfrm>
            <a:off x="9923204" y="3323533"/>
            <a:ext cx="210856" cy="210935"/>
            <a:chOff x="10112114" y="3433451"/>
            <a:chExt cx="210856" cy="210935"/>
          </a:xfrm>
          <a:solidFill>
            <a:srgbClr val="00FFBC"/>
          </a:solidFill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84462B5-AD06-4EA2-BB53-B92ED48FE7FB}"/>
                </a:ext>
              </a:extLst>
            </p:cNvPr>
            <p:cNvSpPr/>
            <p:nvPr/>
          </p:nvSpPr>
          <p:spPr>
            <a:xfrm>
              <a:off x="10112134" y="3433451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C744868-FBF1-4E16-BAEA-63508EA41957}"/>
                </a:ext>
              </a:extLst>
            </p:cNvPr>
            <p:cNvSpPr/>
            <p:nvPr/>
          </p:nvSpPr>
          <p:spPr>
            <a:xfrm>
              <a:off x="10112134" y="3433451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093033D-050B-42B6-9C14-34EC6F4E1AAF}"/>
                </a:ext>
              </a:extLst>
            </p:cNvPr>
            <p:cNvSpPr/>
            <p:nvPr/>
          </p:nvSpPr>
          <p:spPr>
            <a:xfrm>
              <a:off x="10169554" y="3490969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218DBB5-7861-4BFB-92FE-5DDDE65319CD}"/>
                </a:ext>
              </a:extLst>
            </p:cNvPr>
            <p:cNvSpPr/>
            <p:nvPr/>
          </p:nvSpPr>
          <p:spPr>
            <a:xfrm>
              <a:off x="10112114" y="3433451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3F4D1B5-FFB6-4FCC-BB83-1B80AF73582E}"/>
                </a:ext>
              </a:extLst>
            </p:cNvPr>
            <p:cNvSpPr/>
            <p:nvPr/>
          </p:nvSpPr>
          <p:spPr>
            <a:xfrm>
              <a:off x="10229427" y="3550842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C96D916-CB02-45B2-B7BA-8FE8D50E2B6F}"/>
                </a:ext>
              </a:extLst>
            </p:cNvPr>
            <p:cNvSpPr/>
            <p:nvPr/>
          </p:nvSpPr>
          <p:spPr>
            <a:xfrm>
              <a:off x="10112153" y="3433451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17C01E4-AFDC-4C22-B76E-DC70DB5E365A}"/>
                </a:ext>
              </a:extLst>
            </p:cNvPr>
            <p:cNvSpPr/>
            <p:nvPr/>
          </p:nvSpPr>
          <p:spPr>
            <a:xfrm>
              <a:off x="10289220" y="3610694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12" name="2. Slide Title">
            <a:extLst>
              <a:ext uri="{FF2B5EF4-FFF2-40B4-BE49-F238E27FC236}">
                <a16:creationId xmlns:a16="http://schemas.microsoft.com/office/drawing/2014/main" id="{666AB9C0-EBA6-41C3-A306-278C851B3D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13" name="3. Subtitle">
            <a:extLst>
              <a:ext uri="{FF2B5EF4-FFF2-40B4-BE49-F238E27FC236}">
                <a16:creationId xmlns:a16="http://schemas.microsoft.com/office/drawing/2014/main" id="{D100DAF0-DB18-47C0-B588-455700188B8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423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179162"/>
            <a:ext cx="110825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760446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altLang="zh-CN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3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7568034-6195-40E3-82BF-FFB544E3299F}"/>
              </a:ext>
            </a:extLst>
          </p:cNvPr>
          <p:cNvSpPr/>
          <p:nvPr userDrawn="1"/>
        </p:nvSpPr>
        <p:spPr>
          <a:xfrm>
            <a:off x="1356286" y="2038280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5" name="Graphic 33">
            <a:extLst>
              <a:ext uri="{FF2B5EF4-FFF2-40B4-BE49-F238E27FC236}">
                <a16:creationId xmlns:a16="http://schemas.microsoft.com/office/drawing/2014/main" id="{CBBED21B-C62C-4448-878B-391DB1CF04CD}"/>
              </a:ext>
            </a:extLst>
          </p:cNvPr>
          <p:cNvGrpSpPr/>
          <p:nvPr userDrawn="1"/>
        </p:nvGrpSpPr>
        <p:grpSpPr>
          <a:xfrm>
            <a:off x="1356286" y="4492867"/>
            <a:ext cx="324073" cy="324194"/>
            <a:chOff x="1447630" y="5547551"/>
            <a:chExt cx="324073" cy="324194"/>
          </a:xfrm>
          <a:solidFill>
            <a:schemeClr val="accent2"/>
          </a:solidFill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4EAC9C5-5EFF-4A19-880A-3B5342073D54}"/>
                </a:ext>
              </a:extLst>
            </p:cNvPr>
            <p:cNvSpPr/>
            <p:nvPr/>
          </p:nvSpPr>
          <p:spPr>
            <a:xfrm>
              <a:off x="1447660" y="5547551"/>
              <a:ext cx="324042" cy="324194"/>
            </a:xfrm>
            <a:custGeom>
              <a:avLst/>
              <a:gdLst>
                <a:gd name="connsiteX0" fmla="*/ 324013 w 324042"/>
                <a:gd name="connsiteY0" fmla="*/ 43282 h 324194"/>
                <a:gd name="connsiteX1" fmla="*/ 321571 w 324042"/>
                <a:gd name="connsiteY1" fmla="*/ 45452 h 324194"/>
                <a:gd name="connsiteX2" fmla="*/ 45151 w 324042"/>
                <a:gd name="connsiteY2" fmla="*/ 321933 h 324194"/>
                <a:gd name="connsiteX3" fmla="*/ 39695 w 324042"/>
                <a:gd name="connsiteY3" fmla="*/ 324194 h 324194"/>
                <a:gd name="connsiteX4" fmla="*/ 3346 w 324042"/>
                <a:gd name="connsiteY4" fmla="*/ 324133 h 324194"/>
                <a:gd name="connsiteX5" fmla="*/ 0 w 324042"/>
                <a:gd name="connsiteY5" fmla="*/ 324133 h 324194"/>
                <a:gd name="connsiteX6" fmla="*/ 0 w 324042"/>
                <a:gd name="connsiteY6" fmla="*/ 320547 h 324194"/>
                <a:gd name="connsiteX7" fmla="*/ 995 w 324042"/>
                <a:gd name="connsiteY7" fmla="*/ 319281 h 324194"/>
                <a:gd name="connsiteX8" fmla="*/ 3225 w 324042"/>
                <a:gd name="connsiteY8" fmla="*/ 316869 h 324194"/>
                <a:gd name="connsiteX9" fmla="*/ 317653 w 324042"/>
                <a:gd name="connsiteY9" fmla="*/ 2441 h 324194"/>
                <a:gd name="connsiteX10" fmla="*/ 319823 w 324042"/>
                <a:gd name="connsiteY10" fmla="*/ 0 h 324194"/>
                <a:gd name="connsiteX11" fmla="*/ 324043 w 324042"/>
                <a:gd name="connsiteY11" fmla="*/ 0 h 324194"/>
                <a:gd name="connsiteX12" fmla="*/ 324043 w 324042"/>
                <a:gd name="connsiteY12" fmla="*/ 43312 h 32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042" h="324194">
                  <a:moveTo>
                    <a:pt x="324013" y="43282"/>
                  </a:moveTo>
                  <a:cubicBezTo>
                    <a:pt x="323199" y="44005"/>
                    <a:pt x="322355" y="44669"/>
                    <a:pt x="321571" y="45452"/>
                  </a:cubicBezTo>
                  <a:cubicBezTo>
                    <a:pt x="229401" y="137592"/>
                    <a:pt x="137261" y="229733"/>
                    <a:pt x="45151" y="321933"/>
                  </a:cubicBezTo>
                  <a:cubicBezTo>
                    <a:pt x="43523" y="323561"/>
                    <a:pt x="41956" y="324224"/>
                    <a:pt x="39695" y="324194"/>
                  </a:cubicBezTo>
                  <a:cubicBezTo>
                    <a:pt x="27579" y="324103"/>
                    <a:pt x="15462" y="324133"/>
                    <a:pt x="3346" y="324133"/>
                  </a:cubicBezTo>
                  <a:lnTo>
                    <a:pt x="0" y="324133"/>
                  </a:lnTo>
                  <a:cubicBezTo>
                    <a:pt x="0" y="322717"/>
                    <a:pt x="0" y="321632"/>
                    <a:pt x="0" y="320547"/>
                  </a:cubicBezTo>
                  <a:cubicBezTo>
                    <a:pt x="332" y="320125"/>
                    <a:pt x="663" y="319703"/>
                    <a:pt x="995" y="319281"/>
                  </a:cubicBezTo>
                  <a:cubicBezTo>
                    <a:pt x="1748" y="318467"/>
                    <a:pt x="2441" y="317653"/>
                    <a:pt x="3225" y="316869"/>
                  </a:cubicBezTo>
                  <a:cubicBezTo>
                    <a:pt x="108024" y="212070"/>
                    <a:pt x="212854" y="107241"/>
                    <a:pt x="317653" y="2441"/>
                  </a:cubicBezTo>
                  <a:cubicBezTo>
                    <a:pt x="318407" y="1688"/>
                    <a:pt x="319100" y="814"/>
                    <a:pt x="319823" y="0"/>
                  </a:cubicBezTo>
                  <a:cubicBezTo>
                    <a:pt x="321240" y="0"/>
                    <a:pt x="322626" y="0"/>
                    <a:pt x="324043" y="0"/>
                  </a:cubicBezTo>
                  <a:lnTo>
                    <a:pt x="324043" y="4331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DA8FF3E-836F-42C4-B76A-6A5C77DADED5}"/>
                </a:ext>
              </a:extLst>
            </p:cNvPr>
            <p:cNvSpPr/>
            <p:nvPr/>
          </p:nvSpPr>
          <p:spPr>
            <a:xfrm>
              <a:off x="1447660" y="5547551"/>
              <a:ext cx="274702" cy="274250"/>
            </a:xfrm>
            <a:custGeom>
              <a:avLst/>
              <a:gdLst>
                <a:gd name="connsiteX0" fmla="*/ 274703 w 274702"/>
                <a:gd name="connsiteY0" fmla="*/ 0 h 274250"/>
                <a:gd name="connsiteX1" fmla="*/ 272774 w 274702"/>
                <a:gd name="connsiteY1" fmla="*/ 2230 h 274250"/>
                <a:gd name="connsiteX2" fmla="*/ 2954 w 274702"/>
                <a:gd name="connsiteY2" fmla="*/ 272050 h 274250"/>
                <a:gd name="connsiteX3" fmla="*/ 512 w 274702"/>
                <a:gd name="connsiteY3" fmla="*/ 274250 h 274250"/>
                <a:gd name="connsiteX4" fmla="*/ 0 w 274702"/>
                <a:gd name="connsiteY4" fmla="*/ 274220 h 274250"/>
                <a:gd name="connsiteX5" fmla="*/ 0 w 274702"/>
                <a:gd name="connsiteY5" fmla="*/ 228557 h 274250"/>
                <a:gd name="connsiteX6" fmla="*/ 1085 w 274702"/>
                <a:gd name="connsiteY6" fmla="*/ 227412 h 274250"/>
                <a:gd name="connsiteX7" fmla="*/ 2863 w 274702"/>
                <a:gd name="connsiteY7" fmla="*/ 225844 h 274250"/>
                <a:gd name="connsiteX8" fmla="*/ 226658 w 274702"/>
                <a:gd name="connsiteY8" fmla="*/ 2050 h 274250"/>
                <a:gd name="connsiteX9" fmla="*/ 228376 w 274702"/>
                <a:gd name="connsiteY9" fmla="*/ 30 h 274250"/>
                <a:gd name="connsiteX10" fmla="*/ 274672 w 274702"/>
                <a:gd name="connsiteY10" fmla="*/ 30 h 27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702" h="274250">
                  <a:moveTo>
                    <a:pt x="274703" y="0"/>
                  </a:moveTo>
                  <a:cubicBezTo>
                    <a:pt x="274070" y="754"/>
                    <a:pt x="273467" y="1537"/>
                    <a:pt x="272774" y="2230"/>
                  </a:cubicBezTo>
                  <a:cubicBezTo>
                    <a:pt x="182834" y="92170"/>
                    <a:pt x="92894" y="182110"/>
                    <a:pt x="2954" y="272050"/>
                  </a:cubicBezTo>
                  <a:cubicBezTo>
                    <a:pt x="2170" y="272834"/>
                    <a:pt x="1326" y="273527"/>
                    <a:pt x="512" y="274250"/>
                  </a:cubicBezTo>
                  <a:cubicBezTo>
                    <a:pt x="332" y="274250"/>
                    <a:pt x="181" y="274250"/>
                    <a:pt x="0" y="274220"/>
                  </a:cubicBezTo>
                  <a:cubicBezTo>
                    <a:pt x="0" y="258999"/>
                    <a:pt x="0" y="243778"/>
                    <a:pt x="0" y="228557"/>
                  </a:cubicBezTo>
                  <a:cubicBezTo>
                    <a:pt x="362" y="228165"/>
                    <a:pt x="723" y="227804"/>
                    <a:pt x="1085" y="227412"/>
                  </a:cubicBezTo>
                  <a:cubicBezTo>
                    <a:pt x="1688" y="226899"/>
                    <a:pt x="2321" y="226387"/>
                    <a:pt x="2863" y="225844"/>
                  </a:cubicBezTo>
                  <a:cubicBezTo>
                    <a:pt x="77462" y="151246"/>
                    <a:pt x="152060" y="76648"/>
                    <a:pt x="226658" y="2050"/>
                  </a:cubicBezTo>
                  <a:cubicBezTo>
                    <a:pt x="227291" y="1417"/>
                    <a:pt x="227804" y="693"/>
                    <a:pt x="228376" y="30"/>
                  </a:cubicBezTo>
                  <a:cubicBezTo>
                    <a:pt x="243808" y="30"/>
                    <a:pt x="259240" y="30"/>
                    <a:pt x="274672" y="3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5944456-5B9B-4CB5-AB6C-C72DB1E11249}"/>
                </a:ext>
              </a:extLst>
            </p:cNvPr>
            <p:cNvSpPr/>
            <p:nvPr/>
          </p:nvSpPr>
          <p:spPr>
            <a:xfrm>
              <a:off x="1535912" y="5635954"/>
              <a:ext cx="235760" cy="235791"/>
            </a:xfrm>
            <a:custGeom>
              <a:avLst/>
              <a:gdLst>
                <a:gd name="connsiteX0" fmla="*/ 235761 w 235760"/>
                <a:gd name="connsiteY0" fmla="*/ 46899 h 235791"/>
                <a:gd name="connsiteX1" fmla="*/ 233319 w 235760"/>
                <a:gd name="connsiteY1" fmla="*/ 49069 h 235791"/>
                <a:gd name="connsiteX2" fmla="*/ 49099 w 235760"/>
                <a:gd name="connsiteY2" fmla="*/ 233380 h 235791"/>
                <a:gd name="connsiteX3" fmla="*/ 43101 w 235760"/>
                <a:gd name="connsiteY3" fmla="*/ 235791 h 235791"/>
                <a:gd name="connsiteX4" fmla="*/ 0 w 235760"/>
                <a:gd name="connsiteY4" fmla="*/ 235731 h 235791"/>
                <a:gd name="connsiteX5" fmla="*/ 1869 w 235760"/>
                <a:gd name="connsiteY5" fmla="*/ 233591 h 235791"/>
                <a:gd name="connsiteX6" fmla="*/ 233952 w 235760"/>
                <a:gd name="connsiteY6" fmla="*/ 1507 h 235791"/>
                <a:gd name="connsiteX7" fmla="*/ 235761 w 235760"/>
                <a:gd name="connsiteY7" fmla="*/ 0 h 235791"/>
                <a:gd name="connsiteX8" fmla="*/ 235761 w 235760"/>
                <a:gd name="connsiteY8" fmla="*/ 46899 h 23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760" h="235791">
                  <a:moveTo>
                    <a:pt x="235761" y="46899"/>
                  </a:moveTo>
                  <a:cubicBezTo>
                    <a:pt x="234947" y="47622"/>
                    <a:pt x="234103" y="48285"/>
                    <a:pt x="233319" y="49069"/>
                  </a:cubicBezTo>
                  <a:cubicBezTo>
                    <a:pt x="171893" y="110496"/>
                    <a:pt x="110466" y="171893"/>
                    <a:pt x="49099" y="233380"/>
                  </a:cubicBezTo>
                  <a:cubicBezTo>
                    <a:pt x="47291" y="235188"/>
                    <a:pt x="45543" y="235821"/>
                    <a:pt x="43101" y="235791"/>
                  </a:cubicBezTo>
                  <a:cubicBezTo>
                    <a:pt x="28875" y="235700"/>
                    <a:pt x="14679" y="235731"/>
                    <a:pt x="0" y="235731"/>
                  </a:cubicBezTo>
                  <a:cubicBezTo>
                    <a:pt x="784" y="234826"/>
                    <a:pt x="1296" y="234163"/>
                    <a:pt x="1869" y="233591"/>
                  </a:cubicBezTo>
                  <a:cubicBezTo>
                    <a:pt x="79240" y="156219"/>
                    <a:pt x="156581" y="78878"/>
                    <a:pt x="233952" y="1507"/>
                  </a:cubicBezTo>
                  <a:cubicBezTo>
                    <a:pt x="234495" y="964"/>
                    <a:pt x="235158" y="482"/>
                    <a:pt x="235761" y="0"/>
                  </a:cubicBezTo>
                  <a:lnTo>
                    <a:pt x="23576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742E645-1FFA-4E5F-A6A0-5CF988D89EE9}"/>
                </a:ext>
              </a:extLst>
            </p:cNvPr>
            <p:cNvSpPr/>
            <p:nvPr/>
          </p:nvSpPr>
          <p:spPr>
            <a:xfrm>
              <a:off x="1447630" y="5547551"/>
              <a:ext cx="183315" cy="182291"/>
            </a:xfrm>
            <a:custGeom>
              <a:avLst/>
              <a:gdLst>
                <a:gd name="connsiteX0" fmla="*/ 183316 w 183315"/>
                <a:gd name="connsiteY0" fmla="*/ 0 h 182291"/>
                <a:gd name="connsiteX1" fmla="*/ 181809 w 183315"/>
                <a:gd name="connsiteY1" fmla="*/ 1808 h 182291"/>
                <a:gd name="connsiteX2" fmla="*/ 2713 w 183315"/>
                <a:gd name="connsiteY2" fmla="*/ 180905 h 182291"/>
                <a:gd name="connsiteX3" fmla="*/ 1145 w 183315"/>
                <a:gd name="connsiteY3" fmla="*/ 182291 h 182291"/>
                <a:gd name="connsiteX4" fmla="*/ 0 w 183315"/>
                <a:gd name="connsiteY4" fmla="*/ 181628 h 182291"/>
                <a:gd name="connsiteX5" fmla="*/ 0 w 183315"/>
                <a:gd name="connsiteY5" fmla="*/ 137713 h 182291"/>
                <a:gd name="connsiteX6" fmla="*/ 452 w 183315"/>
                <a:gd name="connsiteY6" fmla="*/ 136477 h 182291"/>
                <a:gd name="connsiteX7" fmla="*/ 1115 w 183315"/>
                <a:gd name="connsiteY7" fmla="*/ 135392 h 182291"/>
                <a:gd name="connsiteX8" fmla="*/ 2683 w 183315"/>
                <a:gd name="connsiteY8" fmla="*/ 134036 h 182291"/>
                <a:gd name="connsiteX9" fmla="*/ 134880 w 183315"/>
                <a:gd name="connsiteY9" fmla="*/ 1808 h 182291"/>
                <a:gd name="connsiteX10" fmla="*/ 136387 w 183315"/>
                <a:gd name="connsiteY10" fmla="*/ 0 h 182291"/>
                <a:gd name="connsiteX11" fmla="*/ 183286 w 183315"/>
                <a:gd name="connsiteY11" fmla="*/ 0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315" h="182291">
                  <a:moveTo>
                    <a:pt x="183316" y="0"/>
                  </a:moveTo>
                  <a:cubicBezTo>
                    <a:pt x="182804" y="603"/>
                    <a:pt x="182351" y="1266"/>
                    <a:pt x="181809" y="1808"/>
                  </a:cubicBezTo>
                  <a:cubicBezTo>
                    <a:pt x="122130" y="61517"/>
                    <a:pt x="62421" y="121226"/>
                    <a:pt x="2713" y="180905"/>
                  </a:cubicBezTo>
                  <a:cubicBezTo>
                    <a:pt x="2230" y="181387"/>
                    <a:pt x="1658" y="181809"/>
                    <a:pt x="1145" y="182291"/>
                  </a:cubicBezTo>
                  <a:cubicBezTo>
                    <a:pt x="754" y="182080"/>
                    <a:pt x="392" y="181839"/>
                    <a:pt x="0" y="181628"/>
                  </a:cubicBezTo>
                  <a:cubicBezTo>
                    <a:pt x="0" y="166980"/>
                    <a:pt x="0" y="152361"/>
                    <a:pt x="0" y="137713"/>
                  </a:cubicBezTo>
                  <a:cubicBezTo>
                    <a:pt x="151" y="137291"/>
                    <a:pt x="301" y="136899"/>
                    <a:pt x="452" y="136477"/>
                  </a:cubicBezTo>
                  <a:cubicBezTo>
                    <a:pt x="663" y="136116"/>
                    <a:pt x="874" y="135754"/>
                    <a:pt x="1115" y="135392"/>
                  </a:cubicBezTo>
                  <a:cubicBezTo>
                    <a:pt x="1628" y="134940"/>
                    <a:pt x="2200" y="134518"/>
                    <a:pt x="2683" y="134036"/>
                  </a:cubicBezTo>
                  <a:cubicBezTo>
                    <a:pt x="46748" y="89970"/>
                    <a:pt x="90814" y="45904"/>
                    <a:pt x="134880" y="1808"/>
                  </a:cubicBezTo>
                  <a:cubicBezTo>
                    <a:pt x="135422" y="1266"/>
                    <a:pt x="135905" y="603"/>
                    <a:pt x="136387" y="0"/>
                  </a:cubicBezTo>
                  <a:cubicBezTo>
                    <a:pt x="152030" y="0"/>
                    <a:pt x="167673" y="0"/>
                    <a:pt x="18328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298903B-F98C-4112-AB00-284947C22875}"/>
                </a:ext>
              </a:extLst>
            </p:cNvPr>
            <p:cNvSpPr/>
            <p:nvPr/>
          </p:nvSpPr>
          <p:spPr>
            <a:xfrm>
              <a:off x="1627931" y="5727974"/>
              <a:ext cx="143741" cy="143742"/>
            </a:xfrm>
            <a:custGeom>
              <a:avLst/>
              <a:gdLst>
                <a:gd name="connsiteX0" fmla="*/ 143741 w 143741"/>
                <a:gd name="connsiteY0" fmla="*/ 46899 h 143742"/>
                <a:gd name="connsiteX1" fmla="*/ 141300 w 143741"/>
                <a:gd name="connsiteY1" fmla="*/ 49069 h 143742"/>
                <a:gd name="connsiteX2" fmla="*/ 48888 w 143741"/>
                <a:gd name="connsiteY2" fmla="*/ 141541 h 143742"/>
                <a:gd name="connsiteX3" fmla="*/ 43403 w 143741"/>
                <a:gd name="connsiteY3" fmla="*/ 143741 h 143742"/>
                <a:gd name="connsiteX4" fmla="*/ 0 w 143741"/>
                <a:gd name="connsiteY4" fmla="*/ 143711 h 143742"/>
                <a:gd name="connsiteX5" fmla="*/ 1447 w 143741"/>
                <a:gd name="connsiteY5" fmla="*/ 141993 h 143742"/>
                <a:gd name="connsiteX6" fmla="*/ 142355 w 143741"/>
                <a:gd name="connsiteY6" fmla="*/ 1085 h 143742"/>
                <a:gd name="connsiteX7" fmla="*/ 143741 w 143741"/>
                <a:gd name="connsiteY7" fmla="*/ 0 h 143742"/>
                <a:gd name="connsiteX8" fmla="*/ 143741 w 143741"/>
                <a:gd name="connsiteY8" fmla="*/ 46899 h 14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741" h="143742">
                  <a:moveTo>
                    <a:pt x="143741" y="46899"/>
                  </a:moveTo>
                  <a:cubicBezTo>
                    <a:pt x="142927" y="47622"/>
                    <a:pt x="142083" y="48285"/>
                    <a:pt x="141300" y="49069"/>
                  </a:cubicBezTo>
                  <a:cubicBezTo>
                    <a:pt x="110466" y="79873"/>
                    <a:pt x="79632" y="110677"/>
                    <a:pt x="48888" y="141541"/>
                  </a:cubicBezTo>
                  <a:cubicBezTo>
                    <a:pt x="47261" y="143168"/>
                    <a:pt x="45663" y="143771"/>
                    <a:pt x="43403" y="143741"/>
                  </a:cubicBezTo>
                  <a:cubicBezTo>
                    <a:pt x="29086" y="143651"/>
                    <a:pt x="14769" y="143711"/>
                    <a:pt x="0" y="143711"/>
                  </a:cubicBezTo>
                  <a:cubicBezTo>
                    <a:pt x="633" y="142957"/>
                    <a:pt x="995" y="142415"/>
                    <a:pt x="1447" y="141993"/>
                  </a:cubicBezTo>
                  <a:cubicBezTo>
                    <a:pt x="48406" y="95004"/>
                    <a:pt x="95395" y="48044"/>
                    <a:pt x="142355" y="1085"/>
                  </a:cubicBezTo>
                  <a:cubicBezTo>
                    <a:pt x="142777" y="663"/>
                    <a:pt x="143289" y="362"/>
                    <a:pt x="143741" y="0"/>
                  </a:cubicBezTo>
                  <a:lnTo>
                    <a:pt x="14374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6DC6304-ECB3-4B07-85ED-DA563DC036CB}"/>
                </a:ext>
              </a:extLst>
            </p:cNvPr>
            <p:cNvSpPr/>
            <p:nvPr/>
          </p:nvSpPr>
          <p:spPr>
            <a:xfrm>
              <a:off x="1447690" y="5547551"/>
              <a:ext cx="91296" cy="90271"/>
            </a:xfrm>
            <a:custGeom>
              <a:avLst/>
              <a:gdLst>
                <a:gd name="connsiteX0" fmla="*/ 91266 w 91296"/>
                <a:gd name="connsiteY0" fmla="*/ 0 h 90271"/>
                <a:gd name="connsiteX1" fmla="*/ 89970 w 91296"/>
                <a:gd name="connsiteY1" fmla="*/ 1597 h 90271"/>
                <a:gd name="connsiteX2" fmla="*/ 2261 w 91296"/>
                <a:gd name="connsiteY2" fmla="*/ 89307 h 90271"/>
                <a:gd name="connsiteX3" fmla="*/ 1145 w 91296"/>
                <a:gd name="connsiteY3" fmla="*/ 90271 h 90271"/>
                <a:gd name="connsiteX4" fmla="*/ 0 w 91296"/>
                <a:gd name="connsiteY4" fmla="*/ 89608 h 90271"/>
                <a:gd name="connsiteX5" fmla="*/ 0 w 91296"/>
                <a:gd name="connsiteY5" fmla="*/ 45091 h 90271"/>
                <a:gd name="connsiteX6" fmla="*/ 965 w 91296"/>
                <a:gd name="connsiteY6" fmla="*/ 43885 h 90271"/>
                <a:gd name="connsiteX7" fmla="*/ 40117 w 91296"/>
                <a:gd name="connsiteY7" fmla="*/ 4551 h 90271"/>
                <a:gd name="connsiteX8" fmla="*/ 44397 w 91296"/>
                <a:gd name="connsiteY8" fmla="*/ 0 h 90271"/>
                <a:gd name="connsiteX9" fmla="*/ 91296 w 91296"/>
                <a:gd name="connsiteY9" fmla="*/ 0 h 9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90271">
                  <a:moveTo>
                    <a:pt x="91266" y="0"/>
                  </a:moveTo>
                  <a:cubicBezTo>
                    <a:pt x="90844" y="543"/>
                    <a:pt x="90452" y="1115"/>
                    <a:pt x="89970" y="1597"/>
                  </a:cubicBezTo>
                  <a:cubicBezTo>
                    <a:pt x="60734" y="30834"/>
                    <a:pt x="31497" y="60070"/>
                    <a:pt x="2261" y="89307"/>
                  </a:cubicBezTo>
                  <a:cubicBezTo>
                    <a:pt x="1899" y="89669"/>
                    <a:pt x="1507" y="89940"/>
                    <a:pt x="1145" y="90271"/>
                  </a:cubicBezTo>
                  <a:cubicBezTo>
                    <a:pt x="754" y="90060"/>
                    <a:pt x="392" y="89819"/>
                    <a:pt x="0" y="89608"/>
                  </a:cubicBezTo>
                  <a:cubicBezTo>
                    <a:pt x="0" y="74779"/>
                    <a:pt x="0" y="59920"/>
                    <a:pt x="0" y="45091"/>
                  </a:cubicBezTo>
                  <a:cubicBezTo>
                    <a:pt x="332" y="44699"/>
                    <a:pt x="633" y="44277"/>
                    <a:pt x="965" y="43885"/>
                  </a:cubicBezTo>
                  <a:cubicBezTo>
                    <a:pt x="14015" y="30774"/>
                    <a:pt x="27066" y="17662"/>
                    <a:pt x="40117" y="4551"/>
                  </a:cubicBezTo>
                  <a:cubicBezTo>
                    <a:pt x="41594" y="3074"/>
                    <a:pt x="42981" y="1507"/>
                    <a:pt x="44397" y="0"/>
                  </a:cubicBezTo>
                  <a:cubicBezTo>
                    <a:pt x="60040" y="0"/>
                    <a:pt x="75683" y="0"/>
                    <a:pt x="9129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ABD8D09-947A-4270-A33D-B171A8BF734A}"/>
                </a:ext>
              </a:extLst>
            </p:cNvPr>
            <p:cNvSpPr/>
            <p:nvPr/>
          </p:nvSpPr>
          <p:spPr>
            <a:xfrm>
              <a:off x="1719831" y="5819963"/>
              <a:ext cx="51842" cy="51721"/>
            </a:xfrm>
            <a:custGeom>
              <a:avLst/>
              <a:gdLst>
                <a:gd name="connsiteX0" fmla="*/ 51842 w 51842"/>
                <a:gd name="connsiteY0" fmla="*/ 51721 h 51721"/>
                <a:gd name="connsiteX1" fmla="*/ 0 w 51842"/>
                <a:gd name="connsiteY1" fmla="*/ 51721 h 51721"/>
                <a:gd name="connsiteX2" fmla="*/ 1386 w 51842"/>
                <a:gd name="connsiteY2" fmla="*/ 50154 h 51721"/>
                <a:gd name="connsiteX3" fmla="*/ 50456 w 51842"/>
                <a:gd name="connsiteY3" fmla="*/ 1085 h 51721"/>
                <a:gd name="connsiteX4" fmla="*/ 51842 w 51842"/>
                <a:gd name="connsiteY4" fmla="*/ 0 h 51721"/>
                <a:gd name="connsiteX5" fmla="*/ 51842 w 51842"/>
                <a:gd name="connsiteY5" fmla="*/ 51721 h 5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42" h="51721">
                  <a:moveTo>
                    <a:pt x="51842" y="51721"/>
                  </a:moveTo>
                  <a:lnTo>
                    <a:pt x="0" y="51721"/>
                  </a:lnTo>
                  <a:cubicBezTo>
                    <a:pt x="663" y="50968"/>
                    <a:pt x="995" y="50546"/>
                    <a:pt x="1386" y="50154"/>
                  </a:cubicBezTo>
                  <a:cubicBezTo>
                    <a:pt x="17753" y="33788"/>
                    <a:pt x="34089" y="17421"/>
                    <a:pt x="50456" y="1085"/>
                  </a:cubicBezTo>
                  <a:cubicBezTo>
                    <a:pt x="50878" y="663"/>
                    <a:pt x="51360" y="362"/>
                    <a:pt x="51842" y="0"/>
                  </a:cubicBezTo>
                  <a:lnTo>
                    <a:pt x="51842" y="5172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28743829-E657-4C1E-BB00-A1B66F38E3B3}"/>
              </a:ext>
            </a:extLst>
          </p:cNvPr>
          <p:cNvSpPr/>
          <p:nvPr userDrawn="1"/>
        </p:nvSpPr>
        <p:spPr>
          <a:xfrm>
            <a:off x="10511218" y="1983900"/>
            <a:ext cx="323560" cy="324796"/>
          </a:xfrm>
          <a:custGeom>
            <a:avLst/>
            <a:gdLst>
              <a:gd name="connsiteX0" fmla="*/ 323561 w 323560"/>
              <a:gd name="connsiteY0" fmla="*/ 320848 h 324796"/>
              <a:gd name="connsiteX1" fmla="*/ 323531 w 323560"/>
              <a:gd name="connsiteY1" fmla="*/ 320336 h 324796"/>
              <a:gd name="connsiteX2" fmla="*/ 323531 w 323560"/>
              <a:gd name="connsiteY2" fmla="*/ 0 h 324796"/>
              <a:gd name="connsiteX3" fmla="*/ 0 w 323560"/>
              <a:gd name="connsiteY3" fmla="*/ 0 h 324796"/>
              <a:gd name="connsiteX4" fmla="*/ 0 w 323560"/>
              <a:gd name="connsiteY4" fmla="*/ 3104 h 324796"/>
              <a:gd name="connsiteX5" fmla="*/ 181 w 323560"/>
              <a:gd name="connsiteY5" fmla="*/ 4370 h 324796"/>
              <a:gd name="connsiteX6" fmla="*/ 3979 w 323560"/>
              <a:gd name="connsiteY6" fmla="*/ 50817 h 324796"/>
              <a:gd name="connsiteX7" fmla="*/ 12900 w 323560"/>
              <a:gd name="connsiteY7" fmla="*/ 91537 h 324796"/>
              <a:gd name="connsiteX8" fmla="*/ 30141 w 323560"/>
              <a:gd name="connsiteY8" fmla="*/ 138225 h 324796"/>
              <a:gd name="connsiteX9" fmla="*/ 43945 w 323560"/>
              <a:gd name="connsiteY9" fmla="*/ 164538 h 324796"/>
              <a:gd name="connsiteX10" fmla="*/ 86444 w 323560"/>
              <a:gd name="connsiteY10" fmla="*/ 222197 h 324796"/>
              <a:gd name="connsiteX11" fmla="*/ 130509 w 323560"/>
              <a:gd name="connsiteY11" fmla="*/ 261923 h 324796"/>
              <a:gd name="connsiteX12" fmla="*/ 166196 w 323560"/>
              <a:gd name="connsiteY12" fmla="*/ 285372 h 324796"/>
              <a:gd name="connsiteX13" fmla="*/ 219515 w 323560"/>
              <a:gd name="connsiteY13" fmla="*/ 309726 h 324796"/>
              <a:gd name="connsiteX14" fmla="*/ 284890 w 323560"/>
              <a:gd name="connsiteY14" fmla="*/ 324766 h 324796"/>
              <a:gd name="connsiteX15" fmla="*/ 285252 w 323560"/>
              <a:gd name="connsiteY15" fmla="*/ 324796 h 324796"/>
              <a:gd name="connsiteX16" fmla="*/ 323531 w 323560"/>
              <a:gd name="connsiteY16" fmla="*/ 324796 h 324796"/>
              <a:gd name="connsiteX17" fmla="*/ 323531 w 323560"/>
              <a:gd name="connsiteY17" fmla="*/ 320818 h 3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3560" h="324796">
                <a:moveTo>
                  <a:pt x="323561" y="320848"/>
                </a:moveTo>
                <a:cubicBezTo>
                  <a:pt x="323561" y="320667"/>
                  <a:pt x="323531" y="320516"/>
                  <a:pt x="323531" y="320336"/>
                </a:cubicBezTo>
                <a:cubicBezTo>
                  <a:pt x="323531" y="307466"/>
                  <a:pt x="323531" y="14076"/>
                  <a:pt x="323531" y="0"/>
                </a:cubicBezTo>
                <a:lnTo>
                  <a:pt x="0" y="0"/>
                </a:lnTo>
                <a:lnTo>
                  <a:pt x="0" y="3104"/>
                </a:lnTo>
                <a:cubicBezTo>
                  <a:pt x="90" y="3466"/>
                  <a:pt x="151" y="3888"/>
                  <a:pt x="181" y="4370"/>
                </a:cubicBezTo>
                <a:cubicBezTo>
                  <a:pt x="1296" y="19863"/>
                  <a:pt x="1778" y="35476"/>
                  <a:pt x="3979" y="50817"/>
                </a:cubicBezTo>
                <a:cubicBezTo>
                  <a:pt x="5938" y="64531"/>
                  <a:pt x="9524" y="78064"/>
                  <a:pt x="12900" y="91537"/>
                </a:cubicBezTo>
                <a:cubicBezTo>
                  <a:pt x="16969" y="107693"/>
                  <a:pt x="23178" y="123125"/>
                  <a:pt x="30141" y="138225"/>
                </a:cubicBezTo>
                <a:cubicBezTo>
                  <a:pt x="34270" y="147207"/>
                  <a:pt x="39093" y="155918"/>
                  <a:pt x="43945" y="164538"/>
                </a:cubicBezTo>
                <a:cubicBezTo>
                  <a:pt x="55760" y="185456"/>
                  <a:pt x="70137" y="204505"/>
                  <a:pt x="86444" y="222197"/>
                </a:cubicBezTo>
                <a:cubicBezTo>
                  <a:pt x="99917" y="236846"/>
                  <a:pt x="114263" y="250469"/>
                  <a:pt x="130509" y="261923"/>
                </a:cubicBezTo>
                <a:cubicBezTo>
                  <a:pt x="142144" y="270121"/>
                  <a:pt x="154079" y="277898"/>
                  <a:pt x="166196" y="285372"/>
                </a:cubicBezTo>
                <a:cubicBezTo>
                  <a:pt x="182924" y="295711"/>
                  <a:pt x="200978" y="303336"/>
                  <a:pt x="219515" y="309726"/>
                </a:cubicBezTo>
                <a:cubicBezTo>
                  <a:pt x="240764" y="317020"/>
                  <a:pt x="262496" y="322415"/>
                  <a:pt x="284890" y="324766"/>
                </a:cubicBezTo>
                <a:cubicBezTo>
                  <a:pt x="285011" y="324766"/>
                  <a:pt x="285131" y="324766"/>
                  <a:pt x="285252" y="324796"/>
                </a:cubicBezTo>
                <a:lnTo>
                  <a:pt x="323531" y="324796"/>
                </a:lnTo>
                <a:lnTo>
                  <a:pt x="323531" y="320818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9769B778-480B-4F69-A487-0FC236B306EE}"/>
              </a:ext>
            </a:extLst>
          </p:cNvPr>
          <p:cNvSpPr/>
          <p:nvPr userDrawn="1"/>
        </p:nvSpPr>
        <p:spPr>
          <a:xfrm rot="2700000">
            <a:off x="10561131" y="4573338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F83E68E-C769-40B8-96BD-499F3D0C0926}"/>
              </a:ext>
            </a:extLst>
          </p:cNvPr>
          <p:cNvGrpSpPr/>
          <p:nvPr userDrawn="1"/>
        </p:nvGrpSpPr>
        <p:grpSpPr>
          <a:xfrm>
            <a:off x="551942" y="657151"/>
            <a:ext cx="426764" cy="426924"/>
            <a:chOff x="551942" y="657151"/>
            <a:chExt cx="426764" cy="426924"/>
          </a:xfrm>
          <a:solidFill>
            <a:schemeClr val="accent2"/>
          </a:solidFill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86B7937-98AF-4DF8-BE4C-2AAD74D41C21}"/>
                </a:ext>
              </a:extLst>
            </p:cNvPr>
            <p:cNvSpPr/>
            <p:nvPr/>
          </p:nvSpPr>
          <p:spPr>
            <a:xfrm>
              <a:off x="551982" y="657151"/>
              <a:ext cx="426724" cy="426923"/>
            </a:xfrm>
            <a:custGeom>
              <a:avLst/>
              <a:gdLst>
                <a:gd name="connsiteX0" fmla="*/ 426685 w 426724"/>
                <a:gd name="connsiteY0" fmla="*/ 56997 h 426923"/>
                <a:gd name="connsiteX1" fmla="*/ 423470 w 426724"/>
                <a:gd name="connsiteY1" fmla="*/ 59855 h 426923"/>
                <a:gd name="connsiteX2" fmla="*/ 59458 w 426724"/>
                <a:gd name="connsiteY2" fmla="*/ 423946 h 426923"/>
                <a:gd name="connsiteX3" fmla="*/ 52274 w 426724"/>
                <a:gd name="connsiteY3" fmla="*/ 426923 h 426923"/>
                <a:gd name="connsiteX4" fmla="*/ 4406 w 426724"/>
                <a:gd name="connsiteY4" fmla="*/ 426843 h 426923"/>
                <a:gd name="connsiteX5" fmla="*/ 0 w 426724"/>
                <a:gd name="connsiteY5" fmla="*/ 426843 h 426923"/>
                <a:gd name="connsiteX6" fmla="*/ 0 w 426724"/>
                <a:gd name="connsiteY6" fmla="*/ 422120 h 426923"/>
                <a:gd name="connsiteX7" fmla="*/ 1310 w 426724"/>
                <a:gd name="connsiteY7" fmla="*/ 420453 h 426923"/>
                <a:gd name="connsiteX8" fmla="*/ 4247 w 426724"/>
                <a:gd name="connsiteY8" fmla="*/ 417278 h 426923"/>
                <a:gd name="connsiteX9" fmla="*/ 418310 w 426724"/>
                <a:gd name="connsiteY9" fmla="*/ 3215 h 426923"/>
                <a:gd name="connsiteX10" fmla="*/ 421167 w 426724"/>
                <a:gd name="connsiteY10" fmla="*/ 0 h 426923"/>
                <a:gd name="connsiteX11" fmla="*/ 426724 w 426724"/>
                <a:gd name="connsiteY11" fmla="*/ 0 h 426923"/>
                <a:gd name="connsiteX12" fmla="*/ 426724 w 426724"/>
                <a:gd name="connsiteY12" fmla="*/ 57037 h 4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724" h="426923">
                  <a:moveTo>
                    <a:pt x="426685" y="56997"/>
                  </a:moveTo>
                  <a:cubicBezTo>
                    <a:pt x="425613" y="57950"/>
                    <a:pt x="424501" y="58823"/>
                    <a:pt x="423470" y="59855"/>
                  </a:cubicBezTo>
                  <a:cubicBezTo>
                    <a:pt x="302093" y="181192"/>
                    <a:pt x="180755" y="302529"/>
                    <a:pt x="59458" y="423946"/>
                  </a:cubicBezTo>
                  <a:cubicBezTo>
                    <a:pt x="57315" y="426089"/>
                    <a:pt x="55251" y="426962"/>
                    <a:pt x="52274" y="426923"/>
                  </a:cubicBezTo>
                  <a:cubicBezTo>
                    <a:pt x="36318" y="426804"/>
                    <a:pt x="20362" y="426843"/>
                    <a:pt x="4406" y="426843"/>
                  </a:cubicBezTo>
                  <a:lnTo>
                    <a:pt x="0" y="426843"/>
                  </a:lnTo>
                  <a:cubicBezTo>
                    <a:pt x="0" y="424978"/>
                    <a:pt x="0" y="423549"/>
                    <a:pt x="0" y="422120"/>
                  </a:cubicBezTo>
                  <a:cubicBezTo>
                    <a:pt x="437" y="421564"/>
                    <a:pt x="873" y="421009"/>
                    <a:pt x="1310" y="420453"/>
                  </a:cubicBezTo>
                  <a:cubicBezTo>
                    <a:pt x="2302" y="419381"/>
                    <a:pt x="3215" y="418310"/>
                    <a:pt x="4247" y="417278"/>
                  </a:cubicBezTo>
                  <a:cubicBezTo>
                    <a:pt x="142255" y="279270"/>
                    <a:pt x="280302" y="141223"/>
                    <a:pt x="418310" y="3215"/>
                  </a:cubicBezTo>
                  <a:cubicBezTo>
                    <a:pt x="419302" y="2223"/>
                    <a:pt x="420215" y="1072"/>
                    <a:pt x="421167" y="0"/>
                  </a:cubicBezTo>
                  <a:cubicBezTo>
                    <a:pt x="423033" y="0"/>
                    <a:pt x="424859" y="0"/>
                    <a:pt x="426724" y="0"/>
                  </a:cubicBezTo>
                  <a:lnTo>
                    <a:pt x="426724" y="57037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87B4D6C-9E51-4C00-9BDF-FAEB8B46ECF5}"/>
                </a:ext>
              </a:extLst>
            </p:cNvPr>
            <p:cNvSpPr/>
            <p:nvPr/>
          </p:nvSpPr>
          <p:spPr>
            <a:xfrm>
              <a:off x="551982" y="657151"/>
              <a:ext cx="361749" cy="361153"/>
            </a:xfrm>
            <a:custGeom>
              <a:avLst/>
              <a:gdLst>
                <a:gd name="connsiteX0" fmla="*/ 361749 w 361749"/>
                <a:gd name="connsiteY0" fmla="*/ 0 h 361153"/>
                <a:gd name="connsiteX1" fmla="*/ 359209 w 361749"/>
                <a:gd name="connsiteY1" fmla="*/ 2937 h 361153"/>
                <a:gd name="connsiteX2" fmla="*/ 3890 w 361749"/>
                <a:gd name="connsiteY2" fmla="*/ 358256 h 361153"/>
                <a:gd name="connsiteX3" fmla="*/ 675 w 361749"/>
                <a:gd name="connsiteY3" fmla="*/ 361154 h 361153"/>
                <a:gd name="connsiteX4" fmla="*/ 0 w 361749"/>
                <a:gd name="connsiteY4" fmla="*/ 361114 h 361153"/>
                <a:gd name="connsiteX5" fmla="*/ 0 w 361749"/>
                <a:gd name="connsiteY5" fmla="*/ 300981 h 361153"/>
                <a:gd name="connsiteX6" fmla="*/ 1429 w 361749"/>
                <a:gd name="connsiteY6" fmla="*/ 299473 h 361153"/>
                <a:gd name="connsiteX7" fmla="*/ 3771 w 361749"/>
                <a:gd name="connsiteY7" fmla="*/ 297409 h 361153"/>
                <a:gd name="connsiteX8" fmla="*/ 298481 w 361749"/>
                <a:gd name="connsiteY8" fmla="*/ 2699 h 361153"/>
                <a:gd name="connsiteX9" fmla="*/ 300743 w 361749"/>
                <a:gd name="connsiteY9" fmla="*/ 40 h 361153"/>
                <a:gd name="connsiteX10" fmla="*/ 361709 w 361749"/>
                <a:gd name="connsiteY10" fmla="*/ 40 h 3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749" h="361153">
                  <a:moveTo>
                    <a:pt x="361749" y="0"/>
                  </a:moveTo>
                  <a:cubicBezTo>
                    <a:pt x="360916" y="992"/>
                    <a:pt x="360122" y="2024"/>
                    <a:pt x="359209" y="2937"/>
                  </a:cubicBezTo>
                  <a:cubicBezTo>
                    <a:pt x="240769" y="121377"/>
                    <a:pt x="122329" y="239817"/>
                    <a:pt x="3890" y="358256"/>
                  </a:cubicBezTo>
                  <a:cubicBezTo>
                    <a:pt x="2858" y="359288"/>
                    <a:pt x="1746" y="360201"/>
                    <a:pt x="675" y="361154"/>
                  </a:cubicBezTo>
                  <a:cubicBezTo>
                    <a:pt x="437" y="361154"/>
                    <a:pt x="238" y="361154"/>
                    <a:pt x="0" y="361114"/>
                  </a:cubicBezTo>
                  <a:cubicBezTo>
                    <a:pt x="0" y="341070"/>
                    <a:pt x="0" y="321026"/>
                    <a:pt x="0" y="300981"/>
                  </a:cubicBezTo>
                  <a:cubicBezTo>
                    <a:pt x="476" y="300465"/>
                    <a:pt x="953" y="299989"/>
                    <a:pt x="1429" y="299473"/>
                  </a:cubicBezTo>
                  <a:cubicBezTo>
                    <a:pt x="2223" y="298798"/>
                    <a:pt x="3056" y="298124"/>
                    <a:pt x="3771" y="297409"/>
                  </a:cubicBezTo>
                  <a:cubicBezTo>
                    <a:pt x="102007" y="199172"/>
                    <a:pt x="200244" y="100936"/>
                    <a:pt x="298481" y="2699"/>
                  </a:cubicBezTo>
                  <a:cubicBezTo>
                    <a:pt x="299314" y="1866"/>
                    <a:pt x="299989" y="913"/>
                    <a:pt x="300743" y="40"/>
                  </a:cubicBezTo>
                  <a:cubicBezTo>
                    <a:pt x="321065" y="40"/>
                    <a:pt x="341387" y="40"/>
                    <a:pt x="361709" y="4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40DFA67-59E0-46CD-9C5F-F9E447C817C0}"/>
                </a:ext>
              </a:extLst>
            </p:cNvPr>
            <p:cNvSpPr/>
            <p:nvPr/>
          </p:nvSpPr>
          <p:spPr>
            <a:xfrm>
              <a:off x="668198" y="773567"/>
              <a:ext cx="310467" cy="310508"/>
            </a:xfrm>
            <a:custGeom>
              <a:avLst/>
              <a:gdLst>
                <a:gd name="connsiteX0" fmla="*/ 310468 w 310467"/>
                <a:gd name="connsiteY0" fmla="*/ 61760 h 310508"/>
                <a:gd name="connsiteX1" fmla="*/ 307253 w 310467"/>
                <a:gd name="connsiteY1" fmla="*/ 64618 h 310508"/>
                <a:gd name="connsiteX2" fmla="*/ 64658 w 310467"/>
                <a:gd name="connsiteY2" fmla="*/ 307332 h 310508"/>
                <a:gd name="connsiteX3" fmla="*/ 56759 w 310467"/>
                <a:gd name="connsiteY3" fmla="*/ 310507 h 310508"/>
                <a:gd name="connsiteX4" fmla="*/ 0 w 310467"/>
                <a:gd name="connsiteY4" fmla="*/ 310428 h 310508"/>
                <a:gd name="connsiteX5" fmla="*/ 2461 w 310467"/>
                <a:gd name="connsiteY5" fmla="*/ 307610 h 310508"/>
                <a:gd name="connsiteX6" fmla="*/ 308086 w 310467"/>
                <a:gd name="connsiteY6" fmla="*/ 1985 h 310508"/>
                <a:gd name="connsiteX7" fmla="*/ 310468 w 310467"/>
                <a:gd name="connsiteY7" fmla="*/ 0 h 310508"/>
                <a:gd name="connsiteX8" fmla="*/ 310468 w 310467"/>
                <a:gd name="connsiteY8" fmla="*/ 61760 h 3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467" h="310508">
                  <a:moveTo>
                    <a:pt x="310468" y="61760"/>
                  </a:moveTo>
                  <a:cubicBezTo>
                    <a:pt x="309396" y="62713"/>
                    <a:pt x="308285" y="63586"/>
                    <a:pt x="307253" y="64618"/>
                  </a:cubicBezTo>
                  <a:cubicBezTo>
                    <a:pt x="226361" y="145509"/>
                    <a:pt x="145470" y="226361"/>
                    <a:pt x="64658" y="307332"/>
                  </a:cubicBezTo>
                  <a:cubicBezTo>
                    <a:pt x="62276" y="309713"/>
                    <a:pt x="59974" y="310547"/>
                    <a:pt x="56759" y="310507"/>
                  </a:cubicBezTo>
                  <a:cubicBezTo>
                    <a:pt x="38025" y="310388"/>
                    <a:pt x="19330" y="310428"/>
                    <a:pt x="0" y="310428"/>
                  </a:cubicBezTo>
                  <a:cubicBezTo>
                    <a:pt x="1032" y="309237"/>
                    <a:pt x="1707" y="308364"/>
                    <a:pt x="2461" y="307610"/>
                  </a:cubicBezTo>
                  <a:cubicBezTo>
                    <a:pt x="104349" y="205721"/>
                    <a:pt x="206198" y="103873"/>
                    <a:pt x="308086" y="1985"/>
                  </a:cubicBezTo>
                  <a:cubicBezTo>
                    <a:pt x="308801" y="1270"/>
                    <a:pt x="309674" y="635"/>
                    <a:pt x="310468" y="0"/>
                  </a:cubicBezTo>
                  <a:lnTo>
                    <a:pt x="310468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EAAE20-044F-40AD-BDC4-DAADF04B4B4B}"/>
                </a:ext>
              </a:extLst>
            </p:cNvPr>
            <p:cNvSpPr/>
            <p:nvPr/>
          </p:nvSpPr>
          <p:spPr>
            <a:xfrm>
              <a:off x="551942" y="657151"/>
              <a:ext cx="241404" cy="240054"/>
            </a:xfrm>
            <a:custGeom>
              <a:avLst/>
              <a:gdLst>
                <a:gd name="connsiteX0" fmla="*/ 241404 w 241404"/>
                <a:gd name="connsiteY0" fmla="*/ 0 h 240054"/>
                <a:gd name="connsiteX1" fmla="*/ 239420 w 241404"/>
                <a:gd name="connsiteY1" fmla="*/ 2382 h 240054"/>
                <a:gd name="connsiteX2" fmla="*/ 3572 w 241404"/>
                <a:gd name="connsiteY2" fmla="*/ 238229 h 240054"/>
                <a:gd name="connsiteX3" fmla="*/ 1508 w 241404"/>
                <a:gd name="connsiteY3" fmla="*/ 240055 h 240054"/>
                <a:gd name="connsiteX4" fmla="*/ 0 w 241404"/>
                <a:gd name="connsiteY4" fmla="*/ 239181 h 240054"/>
                <a:gd name="connsiteX5" fmla="*/ 0 w 241404"/>
                <a:gd name="connsiteY5" fmla="*/ 181351 h 240054"/>
                <a:gd name="connsiteX6" fmla="*/ 595 w 241404"/>
                <a:gd name="connsiteY6" fmla="*/ 179724 h 240054"/>
                <a:gd name="connsiteX7" fmla="*/ 1469 w 241404"/>
                <a:gd name="connsiteY7" fmla="*/ 178295 h 240054"/>
                <a:gd name="connsiteX8" fmla="*/ 3533 w 241404"/>
                <a:gd name="connsiteY8" fmla="*/ 176509 h 240054"/>
                <a:gd name="connsiteX9" fmla="*/ 177620 w 241404"/>
                <a:gd name="connsiteY9" fmla="*/ 2382 h 240054"/>
                <a:gd name="connsiteX10" fmla="*/ 179604 w 241404"/>
                <a:gd name="connsiteY10" fmla="*/ 0 h 240054"/>
                <a:gd name="connsiteX11" fmla="*/ 241365 w 241404"/>
                <a:gd name="connsiteY11" fmla="*/ 0 h 24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404" h="240054">
                  <a:moveTo>
                    <a:pt x="241404" y="0"/>
                  </a:moveTo>
                  <a:cubicBezTo>
                    <a:pt x="240729" y="794"/>
                    <a:pt x="240134" y="1667"/>
                    <a:pt x="239420" y="2382"/>
                  </a:cubicBezTo>
                  <a:cubicBezTo>
                    <a:pt x="160830" y="81011"/>
                    <a:pt x="82201" y="159640"/>
                    <a:pt x="3572" y="238229"/>
                  </a:cubicBezTo>
                  <a:cubicBezTo>
                    <a:pt x="2937" y="238864"/>
                    <a:pt x="2183" y="239420"/>
                    <a:pt x="1508" y="240055"/>
                  </a:cubicBezTo>
                  <a:cubicBezTo>
                    <a:pt x="992" y="239777"/>
                    <a:pt x="516" y="239459"/>
                    <a:pt x="0" y="239181"/>
                  </a:cubicBezTo>
                  <a:cubicBezTo>
                    <a:pt x="0" y="219891"/>
                    <a:pt x="0" y="200641"/>
                    <a:pt x="0" y="181351"/>
                  </a:cubicBezTo>
                  <a:cubicBezTo>
                    <a:pt x="198" y="180795"/>
                    <a:pt x="397" y="180279"/>
                    <a:pt x="595" y="179724"/>
                  </a:cubicBezTo>
                  <a:cubicBezTo>
                    <a:pt x="873" y="179247"/>
                    <a:pt x="1151" y="178771"/>
                    <a:pt x="1469" y="178295"/>
                  </a:cubicBezTo>
                  <a:cubicBezTo>
                    <a:pt x="2143" y="177699"/>
                    <a:pt x="2897" y="177144"/>
                    <a:pt x="3533" y="176509"/>
                  </a:cubicBezTo>
                  <a:cubicBezTo>
                    <a:pt x="61562" y="118479"/>
                    <a:pt x="119591" y="60450"/>
                    <a:pt x="177620" y="2382"/>
                  </a:cubicBezTo>
                  <a:cubicBezTo>
                    <a:pt x="178334" y="1667"/>
                    <a:pt x="178969" y="794"/>
                    <a:pt x="179604" y="0"/>
                  </a:cubicBezTo>
                  <a:cubicBezTo>
                    <a:pt x="200204" y="0"/>
                    <a:pt x="220804" y="0"/>
                    <a:pt x="241365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3FFB2C8-2AA8-4BFA-8F82-8A7086395245}"/>
                </a:ext>
              </a:extLst>
            </p:cNvPr>
            <p:cNvSpPr/>
            <p:nvPr/>
          </p:nvSpPr>
          <p:spPr>
            <a:xfrm>
              <a:off x="789377" y="894745"/>
              <a:ext cx="189289" cy="189290"/>
            </a:xfrm>
            <a:custGeom>
              <a:avLst/>
              <a:gdLst>
                <a:gd name="connsiteX0" fmla="*/ 189289 w 189289"/>
                <a:gd name="connsiteY0" fmla="*/ 61760 h 189290"/>
                <a:gd name="connsiteX1" fmla="*/ 186074 w 189289"/>
                <a:gd name="connsiteY1" fmla="*/ 64618 h 189290"/>
                <a:gd name="connsiteX2" fmla="*/ 64380 w 189289"/>
                <a:gd name="connsiteY2" fmla="*/ 186392 h 189290"/>
                <a:gd name="connsiteX3" fmla="*/ 57156 w 189289"/>
                <a:gd name="connsiteY3" fmla="*/ 189289 h 189290"/>
                <a:gd name="connsiteX4" fmla="*/ 0 w 189289"/>
                <a:gd name="connsiteY4" fmla="*/ 189249 h 189290"/>
                <a:gd name="connsiteX5" fmla="*/ 1905 w 189289"/>
                <a:gd name="connsiteY5" fmla="*/ 186987 h 189290"/>
                <a:gd name="connsiteX6" fmla="*/ 187463 w 189289"/>
                <a:gd name="connsiteY6" fmla="*/ 1429 h 189290"/>
                <a:gd name="connsiteX7" fmla="*/ 189289 w 189289"/>
                <a:gd name="connsiteY7" fmla="*/ 0 h 189290"/>
                <a:gd name="connsiteX8" fmla="*/ 189289 w 189289"/>
                <a:gd name="connsiteY8" fmla="*/ 61760 h 18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289" h="189290">
                  <a:moveTo>
                    <a:pt x="189289" y="61760"/>
                  </a:moveTo>
                  <a:cubicBezTo>
                    <a:pt x="188217" y="62713"/>
                    <a:pt x="187106" y="63586"/>
                    <a:pt x="186074" y="64618"/>
                  </a:cubicBezTo>
                  <a:cubicBezTo>
                    <a:pt x="145470" y="105183"/>
                    <a:pt x="104865" y="145748"/>
                    <a:pt x="64380" y="186392"/>
                  </a:cubicBezTo>
                  <a:cubicBezTo>
                    <a:pt x="62236" y="188535"/>
                    <a:pt x="60133" y="189329"/>
                    <a:pt x="57156" y="189289"/>
                  </a:cubicBezTo>
                  <a:cubicBezTo>
                    <a:pt x="38302" y="189170"/>
                    <a:pt x="19449" y="189249"/>
                    <a:pt x="0" y="189249"/>
                  </a:cubicBezTo>
                  <a:cubicBezTo>
                    <a:pt x="834" y="188257"/>
                    <a:pt x="1310" y="187543"/>
                    <a:pt x="1905" y="186987"/>
                  </a:cubicBezTo>
                  <a:cubicBezTo>
                    <a:pt x="63745" y="125108"/>
                    <a:pt x="125624" y="63268"/>
                    <a:pt x="187463" y="1429"/>
                  </a:cubicBezTo>
                  <a:cubicBezTo>
                    <a:pt x="188019" y="873"/>
                    <a:pt x="188694" y="476"/>
                    <a:pt x="189289" y="0"/>
                  </a:cubicBezTo>
                  <a:lnTo>
                    <a:pt x="189289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F93B615-53CA-4A36-AB72-0F6AFEB4BDFE}"/>
                </a:ext>
              </a:extLst>
            </p:cNvPr>
            <p:cNvSpPr/>
            <p:nvPr/>
          </p:nvSpPr>
          <p:spPr>
            <a:xfrm>
              <a:off x="552022" y="657151"/>
              <a:ext cx="120225" cy="118876"/>
            </a:xfrm>
            <a:custGeom>
              <a:avLst/>
              <a:gdLst>
                <a:gd name="connsiteX0" fmla="*/ 120186 w 120225"/>
                <a:gd name="connsiteY0" fmla="*/ 0 h 118876"/>
                <a:gd name="connsiteX1" fmla="*/ 118479 w 120225"/>
                <a:gd name="connsiteY1" fmla="*/ 2104 h 118876"/>
                <a:gd name="connsiteX2" fmla="*/ 2977 w 120225"/>
                <a:gd name="connsiteY2" fmla="*/ 117606 h 118876"/>
                <a:gd name="connsiteX3" fmla="*/ 1508 w 120225"/>
                <a:gd name="connsiteY3" fmla="*/ 118876 h 118876"/>
                <a:gd name="connsiteX4" fmla="*/ 0 w 120225"/>
                <a:gd name="connsiteY4" fmla="*/ 118003 h 118876"/>
                <a:gd name="connsiteX5" fmla="*/ 0 w 120225"/>
                <a:gd name="connsiteY5" fmla="*/ 59379 h 118876"/>
                <a:gd name="connsiteX6" fmla="*/ 1270 w 120225"/>
                <a:gd name="connsiteY6" fmla="*/ 57791 h 118876"/>
                <a:gd name="connsiteX7" fmla="*/ 52829 w 120225"/>
                <a:gd name="connsiteY7" fmla="*/ 5993 h 118876"/>
                <a:gd name="connsiteX8" fmla="*/ 58466 w 120225"/>
                <a:gd name="connsiteY8" fmla="*/ 0 h 118876"/>
                <a:gd name="connsiteX9" fmla="*/ 120226 w 120225"/>
                <a:gd name="connsiteY9" fmla="*/ 0 h 11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25" h="118876">
                  <a:moveTo>
                    <a:pt x="120186" y="0"/>
                  </a:moveTo>
                  <a:cubicBezTo>
                    <a:pt x="119630" y="714"/>
                    <a:pt x="119114" y="1469"/>
                    <a:pt x="118479" y="2104"/>
                  </a:cubicBezTo>
                  <a:cubicBezTo>
                    <a:pt x="79979" y="40605"/>
                    <a:pt x="41478" y="79105"/>
                    <a:pt x="2977" y="117606"/>
                  </a:cubicBezTo>
                  <a:cubicBezTo>
                    <a:pt x="2501" y="118082"/>
                    <a:pt x="1985" y="118440"/>
                    <a:pt x="1508" y="118876"/>
                  </a:cubicBezTo>
                  <a:cubicBezTo>
                    <a:pt x="992" y="118598"/>
                    <a:pt x="516" y="118281"/>
                    <a:pt x="0" y="118003"/>
                  </a:cubicBezTo>
                  <a:cubicBezTo>
                    <a:pt x="0" y="98475"/>
                    <a:pt x="0" y="78907"/>
                    <a:pt x="0" y="59379"/>
                  </a:cubicBezTo>
                  <a:cubicBezTo>
                    <a:pt x="437" y="58863"/>
                    <a:pt x="834" y="58307"/>
                    <a:pt x="1270" y="57791"/>
                  </a:cubicBezTo>
                  <a:cubicBezTo>
                    <a:pt x="18457" y="40525"/>
                    <a:pt x="35643" y="23259"/>
                    <a:pt x="52829" y="5993"/>
                  </a:cubicBezTo>
                  <a:cubicBezTo>
                    <a:pt x="54774" y="4049"/>
                    <a:pt x="56600" y="1985"/>
                    <a:pt x="58466" y="0"/>
                  </a:cubicBezTo>
                  <a:cubicBezTo>
                    <a:pt x="79066" y="0"/>
                    <a:pt x="99666" y="0"/>
                    <a:pt x="12022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CF23AED-D1A6-42EF-BEC5-E0FC7E2C1F0E}"/>
                </a:ext>
              </a:extLst>
            </p:cNvPr>
            <p:cNvSpPr/>
            <p:nvPr/>
          </p:nvSpPr>
          <p:spPr>
            <a:xfrm>
              <a:off x="910396" y="1015884"/>
              <a:ext cx="68269" cy="68110"/>
            </a:xfrm>
            <a:custGeom>
              <a:avLst/>
              <a:gdLst>
                <a:gd name="connsiteX0" fmla="*/ 68270 w 68269"/>
                <a:gd name="connsiteY0" fmla="*/ 68111 h 68110"/>
                <a:gd name="connsiteX1" fmla="*/ 0 w 68269"/>
                <a:gd name="connsiteY1" fmla="*/ 68111 h 68110"/>
                <a:gd name="connsiteX2" fmla="*/ 1826 w 68269"/>
                <a:gd name="connsiteY2" fmla="*/ 66047 h 68110"/>
                <a:gd name="connsiteX3" fmla="*/ 66444 w 68269"/>
                <a:gd name="connsiteY3" fmla="*/ 1429 h 68110"/>
                <a:gd name="connsiteX4" fmla="*/ 68270 w 68269"/>
                <a:gd name="connsiteY4" fmla="*/ 0 h 68110"/>
                <a:gd name="connsiteX5" fmla="*/ 68270 w 68269"/>
                <a:gd name="connsiteY5" fmla="*/ 68111 h 6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9" h="68110">
                  <a:moveTo>
                    <a:pt x="68270" y="68111"/>
                  </a:moveTo>
                  <a:lnTo>
                    <a:pt x="0" y="68111"/>
                  </a:lnTo>
                  <a:cubicBezTo>
                    <a:pt x="873" y="67118"/>
                    <a:pt x="1310" y="66563"/>
                    <a:pt x="1826" y="66047"/>
                  </a:cubicBezTo>
                  <a:cubicBezTo>
                    <a:pt x="23378" y="44494"/>
                    <a:pt x="44891" y="22942"/>
                    <a:pt x="66444" y="1429"/>
                  </a:cubicBezTo>
                  <a:cubicBezTo>
                    <a:pt x="66999" y="873"/>
                    <a:pt x="67634" y="476"/>
                    <a:pt x="68270" y="0"/>
                  </a:cubicBezTo>
                  <a:lnTo>
                    <a:pt x="68270" y="6811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2147B36C-B336-4D88-B132-32E507F660EA}"/>
              </a:ext>
            </a:extLst>
          </p:cNvPr>
          <p:cNvSpPr/>
          <p:nvPr userDrawn="1"/>
        </p:nvSpPr>
        <p:spPr>
          <a:xfrm>
            <a:off x="553013" y="5771266"/>
            <a:ext cx="424620" cy="424620"/>
          </a:xfrm>
          <a:custGeom>
            <a:avLst/>
            <a:gdLst>
              <a:gd name="connsiteX0" fmla="*/ 424621 w 424620"/>
              <a:gd name="connsiteY0" fmla="*/ 0 h 424620"/>
              <a:gd name="connsiteX1" fmla="*/ 0 w 424620"/>
              <a:gd name="connsiteY1" fmla="*/ 0 h 424620"/>
              <a:gd name="connsiteX2" fmla="*/ 0 w 424620"/>
              <a:gd name="connsiteY2" fmla="*/ 424621 h 424620"/>
              <a:gd name="connsiteX3" fmla="*/ 424621 w 424620"/>
              <a:gd name="connsiteY3" fmla="*/ 424621 h 424620"/>
              <a:gd name="connsiteX4" fmla="*/ 424621 w 424620"/>
              <a:gd name="connsiteY4" fmla="*/ 0 h 424620"/>
              <a:gd name="connsiteX5" fmla="*/ 315111 w 424620"/>
              <a:gd name="connsiteY5" fmla="*/ 219614 h 424620"/>
              <a:gd name="connsiteX6" fmla="*/ 257717 w 424620"/>
              <a:gd name="connsiteY6" fmla="*/ 276333 h 424620"/>
              <a:gd name="connsiteX7" fmla="*/ 215684 w 424620"/>
              <a:gd name="connsiteY7" fmla="*/ 318446 h 424620"/>
              <a:gd name="connsiteX8" fmla="*/ 208976 w 424620"/>
              <a:gd name="connsiteY8" fmla="*/ 318604 h 424620"/>
              <a:gd name="connsiteX9" fmla="*/ 183455 w 424620"/>
              <a:gd name="connsiteY9" fmla="*/ 293003 h 424620"/>
              <a:gd name="connsiteX10" fmla="*/ 165038 w 424620"/>
              <a:gd name="connsiteY10" fmla="*/ 275182 h 424620"/>
              <a:gd name="connsiteX11" fmla="*/ 147137 w 424620"/>
              <a:gd name="connsiteY11" fmla="*/ 256844 h 424620"/>
              <a:gd name="connsiteX12" fmla="*/ 128879 w 424620"/>
              <a:gd name="connsiteY12" fmla="*/ 238864 h 424620"/>
              <a:gd name="connsiteX13" fmla="*/ 108715 w 424620"/>
              <a:gd name="connsiteY13" fmla="*/ 218224 h 424620"/>
              <a:gd name="connsiteX14" fmla="*/ 109827 w 424620"/>
              <a:gd name="connsiteY14" fmla="*/ 212509 h 424620"/>
              <a:gd name="connsiteX15" fmla="*/ 156266 w 424620"/>
              <a:gd name="connsiteY15" fmla="*/ 166347 h 424620"/>
              <a:gd name="connsiteX16" fmla="*/ 208738 w 424620"/>
              <a:gd name="connsiteY16" fmla="*/ 113796 h 424620"/>
              <a:gd name="connsiteX17" fmla="*/ 215763 w 424620"/>
              <a:gd name="connsiteY17" fmla="*/ 113677 h 424620"/>
              <a:gd name="connsiteX18" fmla="*/ 237435 w 424620"/>
              <a:gd name="connsiteY18" fmla="*/ 135388 h 424620"/>
              <a:gd name="connsiteX19" fmla="*/ 255852 w 424620"/>
              <a:gd name="connsiteY19" fmla="*/ 153210 h 424620"/>
              <a:gd name="connsiteX20" fmla="*/ 273753 w 424620"/>
              <a:gd name="connsiteY20" fmla="*/ 171547 h 424620"/>
              <a:gd name="connsiteX21" fmla="*/ 292011 w 424620"/>
              <a:gd name="connsiteY21" fmla="*/ 189527 h 424620"/>
              <a:gd name="connsiteX22" fmla="*/ 309872 w 424620"/>
              <a:gd name="connsiteY22" fmla="*/ 207309 h 424620"/>
              <a:gd name="connsiteX23" fmla="*/ 314754 w 424620"/>
              <a:gd name="connsiteY23" fmla="*/ 212112 h 424620"/>
              <a:gd name="connsiteX24" fmla="*/ 317850 w 424620"/>
              <a:gd name="connsiteY24" fmla="*/ 215644 h 424620"/>
              <a:gd name="connsiteX25" fmla="*/ 315151 w 424620"/>
              <a:gd name="connsiteY25" fmla="*/ 219693 h 424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4620" h="424620">
                <a:moveTo>
                  <a:pt x="424621" y="0"/>
                </a:moveTo>
                <a:lnTo>
                  <a:pt x="0" y="0"/>
                </a:lnTo>
                <a:lnTo>
                  <a:pt x="0" y="424621"/>
                </a:lnTo>
                <a:lnTo>
                  <a:pt x="424621" y="424621"/>
                </a:lnTo>
                <a:cubicBezTo>
                  <a:pt x="424621" y="356669"/>
                  <a:pt x="424621" y="68944"/>
                  <a:pt x="424621" y="0"/>
                </a:cubicBezTo>
                <a:close/>
                <a:moveTo>
                  <a:pt x="315111" y="219614"/>
                </a:moveTo>
                <a:cubicBezTo>
                  <a:pt x="296020" y="238546"/>
                  <a:pt x="276809" y="257400"/>
                  <a:pt x="257717" y="276333"/>
                </a:cubicBezTo>
                <a:cubicBezTo>
                  <a:pt x="243627" y="290304"/>
                  <a:pt x="229616" y="304315"/>
                  <a:pt x="215684" y="318446"/>
                </a:cubicBezTo>
                <a:cubicBezTo>
                  <a:pt x="213184" y="320986"/>
                  <a:pt x="211556" y="321264"/>
                  <a:pt x="208976" y="318604"/>
                </a:cubicBezTo>
                <a:cubicBezTo>
                  <a:pt x="200601" y="309952"/>
                  <a:pt x="192028" y="301458"/>
                  <a:pt x="183455" y="293003"/>
                </a:cubicBezTo>
                <a:cubicBezTo>
                  <a:pt x="177382" y="287010"/>
                  <a:pt x="171071" y="281215"/>
                  <a:pt x="165038" y="275182"/>
                </a:cubicBezTo>
                <a:cubicBezTo>
                  <a:pt x="159004" y="269149"/>
                  <a:pt x="153170" y="262877"/>
                  <a:pt x="147137" y="256844"/>
                </a:cubicBezTo>
                <a:cubicBezTo>
                  <a:pt x="141104" y="250771"/>
                  <a:pt x="134912" y="244937"/>
                  <a:pt x="128879" y="238864"/>
                </a:cubicBezTo>
                <a:cubicBezTo>
                  <a:pt x="122091" y="232037"/>
                  <a:pt x="115503" y="225051"/>
                  <a:pt x="108715" y="218224"/>
                </a:cubicBezTo>
                <a:cubicBezTo>
                  <a:pt x="106175" y="215644"/>
                  <a:pt x="108239" y="214096"/>
                  <a:pt x="109827" y="212509"/>
                </a:cubicBezTo>
                <a:cubicBezTo>
                  <a:pt x="125306" y="197108"/>
                  <a:pt x="140826" y="181748"/>
                  <a:pt x="156266" y="166347"/>
                </a:cubicBezTo>
                <a:cubicBezTo>
                  <a:pt x="173809" y="148883"/>
                  <a:pt x="191313" y="131379"/>
                  <a:pt x="208738" y="113796"/>
                </a:cubicBezTo>
                <a:cubicBezTo>
                  <a:pt x="211358" y="111136"/>
                  <a:pt x="213064" y="110859"/>
                  <a:pt x="215763" y="113677"/>
                </a:cubicBezTo>
                <a:cubicBezTo>
                  <a:pt x="222829" y="121059"/>
                  <a:pt x="230132" y="128204"/>
                  <a:pt x="237435" y="135388"/>
                </a:cubicBezTo>
                <a:cubicBezTo>
                  <a:pt x="243508" y="141381"/>
                  <a:pt x="249819" y="147176"/>
                  <a:pt x="255852" y="153210"/>
                </a:cubicBezTo>
                <a:cubicBezTo>
                  <a:pt x="261885" y="159243"/>
                  <a:pt x="267720" y="165514"/>
                  <a:pt x="273753" y="171547"/>
                </a:cubicBezTo>
                <a:cubicBezTo>
                  <a:pt x="279786" y="177620"/>
                  <a:pt x="285938" y="183534"/>
                  <a:pt x="292011" y="189527"/>
                </a:cubicBezTo>
                <a:cubicBezTo>
                  <a:pt x="297965" y="195441"/>
                  <a:pt x="303918" y="201355"/>
                  <a:pt x="309872" y="207309"/>
                </a:cubicBezTo>
                <a:cubicBezTo>
                  <a:pt x="311500" y="208937"/>
                  <a:pt x="313167" y="210484"/>
                  <a:pt x="314754" y="212112"/>
                </a:cubicBezTo>
                <a:cubicBezTo>
                  <a:pt x="315786" y="213184"/>
                  <a:pt x="316699" y="214335"/>
                  <a:pt x="317850" y="215644"/>
                </a:cubicBezTo>
                <a:cubicBezTo>
                  <a:pt x="316818" y="217232"/>
                  <a:pt x="316183" y="218661"/>
                  <a:pt x="315151" y="219693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6C041F38-8DA3-4822-BDAF-5949CE8E6D57}"/>
              </a:ext>
            </a:extLst>
          </p:cNvPr>
          <p:cNvSpPr/>
          <p:nvPr userDrawn="1"/>
        </p:nvSpPr>
        <p:spPr>
          <a:xfrm rot="2700000">
            <a:off x="653456" y="3314929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987A4369-0D90-4653-9E88-4AA912F015E7}"/>
              </a:ext>
            </a:extLst>
          </p:cNvPr>
          <p:cNvSpPr/>
          <p:nvPr userDrawn="1"/>
        </p:nvSpPr>
        <p:spPr>
          <a:xfrm rot="2700000">
            <a:off x="11277666" y="718171"/>
            <a:ext cx="294630" cy="294630"/>
          </a:xfrm>
          <a:custGeom>
            <a:avLst/>
            <a:gdLst>
              <a:gd name="connsiteX0" fmla="*/ 0 w 294630"/>
              <a:gd name="connsiteY0" fmla="*/ 0 h 294630"/>
              <a:gd name="connsiteX1" fmla="*/ 294631 w 294630"/>
              <a:gd name="connsiteY1" fmla="*/ 0 h 294630"/>
              <a:gd name="connsiteX2" fmla="*/ 294631 w 294630"/>
              <a:gd name="connsiteY2" fmla="*/ 294631 h 294630"/>
              <a:gd name="connsiteX3" fmla="*/ 0 w 294630"/>
              <a:gd name="connsiteY3" fmla="*/ 294631 h 29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30" h="294630">
                <a:moveTo>
                  <a:pt x="0" y="0"/>
                </a:moveTo>
                <a:lnTo>
                  <a:pt x="294631" y="0"/>
                </a:lnTo>
                <a:lnTo>
                  <a:pt x="294631" y="294631"/>
                </a:lnTo>
                <a:lnTo>
                  <a:pt x="0" y="294631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28B93975-C6F4-4136-B0F0-6DFEC9B9075B}"/>
              </a:ext>
            </a:extLst>
          </p:cNvPr>
          <p:cNvSpPr/>
          <p:nvPr userDrawn="1"/>
        </p:nvSpPr>
        <p:spPr>
          <a:xfrm>
            <a:off x="11211937" y="5768170"/>
            <a:ext cx="426089" cy="427716"/>
          </a:xfrm>
          <a:custGeom>
            <a:avLst/>
            <a:gdLst>
              <a:gd name="connsiteX0" fmla="*/ 426089 w 426089"/>
              <a:gd name="connsiteY0" fmla="*/ 422517 h 427716"/>
              <a:gd name="connsiteX1" fmla="*/ 426049 w 426089"/>
              <a:gd name="connsiteY1" fmla="*/ 421842 h 427716"/>
              <a:gd name="connsiteX2" fmla="*/ 426049 w 426089"/>
              <a:gd name="connsiteY2" fmla="*/ 0 h 427716"/>
              <a:gd name="connsiteX3" fmla="*/ 0 w 426089"/>
              <a:gd name="connsiteY3" fmla="*/ 0 h 427716"/>
              <a:gd name="connsiteX4" fmla="*/ 0 w 426089"/>
              <a:gd name="connsiteY4" fmla="*/ 4088 h 427716"/>
              <a:gd name="connsiteX5" fmla="*/ 238 w 426089"/>
              <a:gd name="connsiteY5" fmla="*/ 5755 h 427716"/>
              <a:gd name="connsiteX6" fmla="*/ 5239 w 426089"/>
              <a:gd name="connsiteY6" fmla="*/ 66920 h 427716"/>
              <a:gd name="connsiteX7" fmla="*/ 16988 w 426089"/>
              <a:gd name="connsiteY7" fmla="*/ 120543 h 427716"/>
              <a:gd name="connsiteX8" fmla="*/ 39692 w 426089"/>
              <a:gd name="connsiteY8" fmla="*/ 182026 h 427716"/>
              <a:gd name="connsiteX9" fmla="*/ 57870 w 426089"/>
              <a:gd name="connsiteY9" fmla="*/ 216676 h 427716"/>
              <a:gd name="connsiteX10" fmla="*/ 113835 w 426089"/>
              <a:gd name="connsiteY10" fmla="*/ 292606 h 427716"/>
              <a:gd name="connsiteX11" fmla="*/ 171865 w 426089"/>
              <a:gd name="connsiteY11" fmla="*/ 344920 h 427716"/>
              <a:gd name="connsiteX12" fmla="*/ 218859 w 426089"/>
              <a:gd name="connsiteY12" fmla="*/ 375800 h 427716"/>
              <a:gd name="connsiteX13" fmla="*/ 289074 w 426089"/>
              <a:gd name="connsiteY13" fmla="*/ 407871 h 427716"/>
              <a:gd name="connsiteX14" fmla="*/ 375165 w 426089"/>
              <a:gd name="connsiteY14" fmla="*/ 427677 h 427716"/>
              <a:gd name="connsiteX15" fmla="*/ 375641 w 426089"/>
              <a:gd name="connsiteY15" fmla="*/ 427717 h 427716"/>
              <a:gd name="connsiteX16" fmla="*/ 426049 w 426089"/>
              <a:gd name="connsiteY16" fmla="*/ 427717 h 427716"/>
              <a:gd name="connsiteX17" fmla="*/ 426049 w 426089"/>
              <a:gd name="connsiteY17" fmla="*/ 422477 h 42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26089" h="427716">
                <a:moveTo>
                  <a:pt x="426089" y="422517"/>
                </a:moveTo>
                <a:cubicBezTo>
                  <a:pt x="426089" y="422279"/>
                  <a:pt x="426049" y="422080"/>
                  <a:pt x="426049" y="421842"/>
                </a:cubicBezTo>
                <a:cubicBezTo>
                  <a:pt x="426049" y="404894"/>
                  <a:pt x="426049" y="18536"/>
                  <a:pt x="426049" y="0"/>
                </a:cubicBezTo>
                <a:lnTo>
                  <a:pt x="0" y="0"/>
                </a:lnTo>
                <a:lnTo>
                  <a:pt x="0" y="4088"/>
                </a:lnTo>
                <a:cubicBezTo>
                  <a:pt x="119" y="4565"/>
                  <a:pt x="198" y="5120"/>
                  <a:pt x="238" y="5755"/>
                </a:cubicBezTo>
                <a:cubicBezTo>
                  <a:pt x="1707" y="26157"/>
                  <a:pt x="2342" y="46717"/>
                  <a:pt x="5239" y="66920"/>
                </a:cubicBezTo>
                <a:cubicBezTo>
                  <a:pt x="7819" y="84980"/>
                  <a:pt x="12543" y="102801"/>
                  <a:pt x="16988" y="120543"/>
                </a:cubicBezTo>
                <a:cubicBezTo>
                  <a:pt x="22346" y="141818"/>
                  <a:pt x="30523" y="162140"/>
                  <a:pt x="39692" y="182026"/>
                </a:cubicBezTo>
                <a:cubicBezTo>
                  <a:pt x="45129" y="193854"/>
                  <a:pt x="51480" y="205325"/>
                  <a:pt x="57870" y="216676"/>
                </a:cubicBezTo>
                <a:cubicBezTo>
                  <a:pt x="73429" y="244222"/>
                  <a:pt x="92362" y="269307"/>
                  <a:pt x="113835" y="292606"/>
                </a:cubicBezTo>
                <a:cubicBezTo>
                  <a:pt x="131578" y="311896"/>
                  <a:pt x="150471" y="329837"/>
                  <a:pt x="171865" y="344920"/>
                </a:cubicBezTo>
                <a:cubicBezTo>
                  <a:pt x="187186" y="355716"/>
                  <a:pt x="202903" y="365956"/>
                  <a:pt x="218859" y="375800"/>
                </a:cubicBezTo>
                <a:cubicBezTo>
                  <a:pt x="240888" y="389414"/>
                  <a:pt x="264663" y="399456"/>
                  <a:pt x="289074" y="407871"/>
                </a:cubicBezTo>
                <a:cubicBezTo>
                  <a:pt x="317056" y="417476"/>
                  <a:pt x="345674" y="424581"/>
                  <a:pt x="375165" y="427677"/>
                </a:cubicBezTo>
                <a:cubicBezTo>
                  <a:pt x="375324" y="427677"/>
                  <a:pt x="375482" y="427677"/>
                  <a:pt x="375641" y="427717"/>
                </a:cubicBezTo>
                <a:lnTo>
                  <a:pt x="426049" y="427717"/>
                </a:lnTo>
                <a:lnTo>
                  <a:pt x="426049" y="422477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A6434C7-A2F5-441D-8127-C143331A282F}"/>
              </a:ext>
            </a:extLst>
          </p:cNvPr>
          <p:cNvSpPr/>
          <p:nvPr userDrawn="1"/>
        </p:nvSpPr>
        <p:spPr>
          <a:xfrm>
            <a:off x="11263759" y="3279795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DF08CE04-ED66-430E-85D4-0A84018F09D8}"/>
              </a:ext>
            </a:extLst>
          </p:cNvPr>
          <p:cNvSpPr/>
          <p:nvPr userDrawn="1"/>
        </p:nvSpPr>
        <p:spPr>
          <a:xfrm>
            <a:off x="9313129" y="139345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79A3FEA2-91E9-43C2-B1CE-E47773467B45}"/>
              </a:ext>
            </a:extLst>
          </p:cNvPr>
          <p:cNvSpPr/>
          <p:nvPr userDrawn="1"/>
        </p:nvSpPr>
        <p:spPr>
          <a:xfrm>
            <a:off x="2667716" y="1455514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A293157E-3167-479C-A5CB-FA018F9AD70E}"/>
              </a:ext>
            </a:extLst>
          </p:cNvPr>
          <p:cNvSpPr/>
          <p:nvPr userDrawn="1"/>
        </p:nvSpPr>
        <p:spPr>
          <a:xfrm rot="2700000">
            <a:off x="2697865" y="5221378"/>
            <a:ext cx="145571" cy="14557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41CAFFC0-4B20-49BE-9129-2C84B4902AB6}"/>
              </a:ext>
            </a:extLst>
          </p:cNvPr>
          <p:cNvSpPr/>
          <p:nvPr userDrawn="1"/>
        </p:nvSpPr>
        <p:spPr>
          <a:xfrm>
            <a:off x="9313129" y="517772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04F4D62A-A523-4721-A3EA-8927DCEE3B57}"/>
              </a:ext>
            </a:extLst>
          </p:cNvPr>
          <p:cNvSpPr/>
          <p:nvPr userDrawn="1"/>
        </p:nvSpPr>
        <p:spPr>
          <a:xfrm rot="2700000">
            <a:off x="3940117" y="943225"/>
            <a:ext cx="162161" cy="16216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2D5F8B8B-5E4E-4637-BE8E-37A87E64293F}"/>
              </a:ext>
            </a:extLst>
          </p:cNvPr>
          <p:cNvSpPr/>
          <p:nvPr userDrawn="1"/>
        </p:nvSpPr>
        <p:spPr>
          <a:xfrm>
            <a:off x="3904344" y="5706460"/>
            <a:ext cx="233706" cy="233706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94" name="Graphic 48">
            <a:extLst>
              <a:ext uri="{FF2B5EF4-FFF2-40B4-BE49-F238E27FC236}">
                <a16:creationId xmlns:a16="http://schemas.microsoft.com/office/drawing/2014/main" id="{B948CF26-75D2-4438-A5DA-BA3869FDA6C1}"/>
              </a:ext>
            </a:extLst>
          </p:cNvPr>
          <p:cNvGrpSpPr/>
          <p:nvPr userDrawn="1"/>
        </p:nvGrpSpPr>
        <p:grpSpPr>
          <a:xfrm>
            <a:off x="8052772" y="906818"/>
            <a:ext cx="234886" cy="234974"/>
            <a:chOff x="7651892" y="875989"/>
            <a:chExt cx="210856" cy="210935"/>
          </a:xfrm>
          <a:solidFill>
            <a:schemeClr val="accent2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D44BA5B-1011-4F4E-B964-1B82D938A52B}"/>
                </a:ext>
              </a:extLst>
            </p:cNvPr>
            <p:cNvSpPr/>
            <p:nvPr/>
          </p:nvSpPr>
          <p:spPr>
            <a:xfrm>
              <a:off x="7651912" y="875989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4A3D3173-373A-4CC7-A46E-19AC0A80AC88}"/>
                </a:ext>
              </a:extLst>
            </p:cNvPr>
            <p:cNvSpPr/>
            <p:nvPr/>
          </p:nvSpPr>
          <p:spPr>
            <a:xfrm>
              <a:off x="7651912" y="875989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386880E-6382-42ED-B119-4B1B2B3F308F}"/>
                </a:ext>
              </a:extLst>
            </p:cNvPr>
            <p:cNvSpPr/>
            <p:nvPr/>
          </p:nvSpPr>
          <p:spPr>
            <a:xfrm>
              <a:off x="7709332" y="933507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616F0CE-6549-4BC2-92DC-3E4F63BD7A64}"/>
                </a:ext>
              </a:extLst>
            </p:cNvPr>
            <p:cNvSpPr/>
            <p:nvPr/>
          </p:nvSpPr>
          <p:spPr>
            <a:xfrm>
              <a:off x="7651892" y="875989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11140A5-A38C-47DA-A58A-24EFC19C17D7}"/>
                </a:ext>
              </a:extLst>
            </p:cNvPr>
            <p:cNvSpPr/>
            <p:nvPr/>
          </p:nvSpPr>
          <p:spPr>
            <a:xfrm>
              <a:off x="7769205" y="993380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6F7E3316-CC19-4706-8E36-0ECD8CD36250}"/>
                </a:ext>
              </a:extLst>
            </p:cNvPr>
            <p:cNvSpPr/>
            <p:nvPr/>
          </p:nvSpPr>
          <p:spPr>
            <a:xfrm>
              <a:off x="7651931" y="875989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F5518DE-455C-48E9-A527-B33F1C2D5E81}"/>
                </a:ext>
              </a:extLst>
            </p:cNvPr>
            <p:cNvSpPr/>
            <p:nvPr/>
          </p:nvSpPr>
          <p:spPr>
            <a:xfrm>
              <a:off x="7828998" y="1053232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08310A57-994F-4C82-87E0-2DA4E42F4E50}"/>
              </a:ext>
            </a:extLst>
          </p:cNvPr>
          <p:cNvSpPr/>
          <p:nvPr userDrawn="1"/>
        </p:nvSpPr>
        <p:spPr>
          <a:xfrm>
            <a:off x="8052958" y="5705608"/>
            <a:ext cx="234515" cy="235410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406195C9-5AFB-4777-AB30-F74027192868}"/>
              </a:ext>
            </a:extLst>
          </p:cNvPr>
          <p:cNvSpPr/>
          <p:nvPr userDrawn="1"/>
        </p:nvSpPr>
        <p:spPr>
          <a:xfrm>
            <a:off x="2057941" y="3323337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chemeClr val="accent2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04" name="Graphic 45">
            <a:extLst>
              <a:ext uri="{FF2B5EF4-FFF2-40B4-BE49-F238E27FC236}">
                <a16:creationId xmlns:a16="http://schemas.microsoft.com/office/drawing/2014/main" id="{E35BEC9F-7C0D-46CF-A92E-5FD1F985D017}"/>
              </a:ext>
            </a:extLst>
          </p:cNvPr>
          <p:cNvGrpSpPr/>
          <p:nvPr userDrawn="1"/>
        </p:nvGrpSpPr>
        <p:grpSpPr>
          <a:xfrm>
            <a:off x="9923204" y="3323533"/>
            <a:ext cx="210856" cy="210935"/>
            <a:chOff x="10112114" y="3433451"/>
            <a:chExt cx="210856" cy="210935"/>
          </a:xfrm>
          <a:solidFill>
            <a:schemeClr val="accent2"/>
          </a:solidFill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84462B5-AD06-4EA2-BB53-B92ED48FE7FB}"/>
                </a:ext>
              </a:extLst>
            </p:cNvPr>
            <p:cNvSpPr/>
            <p:nvPr/>
          </p:nvSpPr>
          <p:spPr>
            <a:xfrm>
              <a:off x="10112134" y="3433451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C744868-FBF1-4E16-BAEA-63508EA41957}"/>
                </a:ext>
              </a:extLst>
            </p:cNvPr>
            <p:cNvSpPr/>
            <p:nvPr/>
          </p:nvSpPr>
          <p:spPr>
            <a:xfrm>
              <a:off x="10112134" y="3433451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093033D-050B-42B6-9C14-34EC6F4E1AAF}"/>
                </a:ext>
              </a:extLst>
            </p:cNvPr>
            <p:cNvSpPr/>
            <p:nvPr/>
          </p:nvSpPr>
          <p:spPr>
            <a:xfrm>
              <a:off x="10169554" y="3490969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218DBB5-7861-4BFB-92FE-5DDDE65319CD}"/>
                </a:ext>
              </a:extLst>
            </p:cNvPr>
            <p:cNvSpPr/>
            <p:nvPr/>
          </p:nvSpPr>
          <p:spPr>
            <a:xfrm>
              <a:off x="10112114" y="3433451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3F4D1B5-FFB6-4FCC-BB83-1B80AF73582E}"/>
                </a:ext>
              </a:extLst>
            </p:cNvPr>
            <p:cNvSpPr/>
            <p:nvPr/>
          </p:nvSpPr>
          <p:spPr>
            <a:xfrm>
              <a:off x="10229427" y="3550842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C96D916-CB02-45B2-B7BA-8FE8D50E2B6F}"/>
                </a:ext>
              </a:extLst>
            </p:cNvPr>
            <p:cNvSpPr/>
            <p:nvPr/>
          </p:nvSpPr>
          <p:spPr>
            <a:xfrm>
              <a:off x="10112153" y="3433451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17C01E4-AFDC-4C22-B76E-DC70DB5E365A}"/>
                </a:ext>
              </a:extLst>
            </p:cNvPr>
            <p:cNvSpPr/>
            <p:nvPr/>
          </p:nvSpPr>
          <p:spPr>
            <a:xfrm>
              <a:off x="10289220" y="3610694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12" name="2. Slide Title">
            <a:extLst>
              <a:ext uri="{FF2B5EF4-FFF2-40B4-BE49-F238E27FC236}">
                <a16:creationId xmlns:a16="http://schemas.microsoft.com/office/drawing/2014/main" id="{666AB9C0-EBA6-41C3-A306-278C851B3D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13" name="3. Subtitle">
            <a:extLst>
              <a:ext uri="{FF2B5EF4-FFF2-40B4-BE49-F238E27FC236}">
                <a16:creationId xmlns:a16="http://schemas.microsoft.com/office/drawing/2014/main" id="{D100DAF0-DB18-47C0-B588-455700188B8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</p:spTree>
    <p:extLst>
      <p:ext uri="{BB962C8B-B14F-4D97-AF65-F5344CB8AC3E}">
        <p14:creationId xmlns:p14="http://schemas.microsoft.com/office/powerpoint/2010/main" val="17909903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53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A234D72-2FD4-5AB6-418E-0E2EFDA6C65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19918" b="20630"/>
          <a:stretch>
            <a:fillRect/>
          </a:stretch>
        </p:blipFill>
        <p:spPr>
          <a:xfrm>
            <a:off x="328248" y="0"/>
            <a:ext cx="11535507" cy="6857999"/>
          </a:xfrm>
          <a:custGeom>
            <a:avLst/>
            <a:gdLst>
              <a:gd name="connsiteX0" fmla="*/ 0 w 11535507"/>
              <a:gd name="connsiteY0" fmla="*/ 0 h 6857999"/>
              <a:gd name="connsiteX1" fmla="*/ 949012 w 11535507"/>
              <a:gd name="connsiteY1" fmla="*/ 0 h 6857999"/>
              <a:gd name="connsiteX2" fmla="*/ 949012 w 11535507"/>
              <a:gd name="connsiteY2" fmla="*/ 2 h 6857999"/>
              <a:gd name="connsiteX3" fmla="*/ 10586496 w 11535507"/>
              <a:gd name="connsiteY3" fmla="*/ 2 h 6857999"/>
              <a:gd name="connsiteX4" fmla="*/ 10586496 w 11535507"/>
              <a:gd name="connsiteY4" fmla="*/ 0 h 6857999"/>
              <a:gd name="connsiteX5" fmla="*/ 11535507 w 11535507"/>
              <a:gd name="connsiteY5" fmla="*/ 0 h 6857999"/>
              <a:gd name="connsiteX6" fmla="*/ 11535507 w 11535507"/>
              <a:gd name="connsiteY6" fmla="*/ 6857999 h 6857999"/>
              <a:gd name="connsiteX7" fmla="*/ 0 w 11535507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35507" h="6857999">
                <a:moveTo>
                  <a:pt x="0" y="0"/>
                </a:moveTo>
                <a:lnTo>
                  <a:pt x="949012" y="0"/>
                </a:lnTo>
                <a:lnTo>
                  <a:pt x="949012" y="2"/>
                </a:lnTo>
                <a:lnTo>
                  <a:pt x="10586496" y="2"/>
                </a:lnTo>
                <a:lnTo>
                  <a:pt x="10586496" y="0"/>
                </a:lnTo>
                <a:lnTo>
                  <a:pt x="11535507" y="0"/>
                </a:lnTo>
                <a:lnTo>
                  <a:pt x="1153550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2" name="2. Slide Title">
            <a:extLst>
              <a:ext uri="{FF2B5EF4-FFF2-40B4-BE49-F238E27FC236}">
                <a16:creationId xmlns:a16="http://schemas.microsoft.com/office/drawing/2014/main" id="{666AB9C0-EBA6-41C3-A306-278C851B3D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99601" y="2665071"/>
            <a:ext cx="5392799" cy="100181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ctr">
              <a:lnSpc>
                <a:spcPct val="93000"/>
              </a:lnSpc>
              <a:defRPr sz="3400">
                <a:latin typeface="Inter Black" panose="02000503000000020004" pitchFamily="2" charset="0"/>
                <a:ea typeface="Inter Black" panose="02000503000000020004" pitchFamily="2" charset="0"/>
                <a:cs typeface="Inter Black" panose="02000503000000020004" pitchFamily="2" charset="0"/>
                <a:sym typeface="Inter" panose="02000503000000020004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Click to add quote”- </a:t>
            </a:r>
            <a:br>
              <a:rPr lang="en-US" dirty="0"/>
            </a:b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 black, 40pt</a:t>
            </a:r>
            <a:endParaRPr lang="en-US" dirty="0"/>
          </a:p>
        </p:txBody>
      </p:sp>
      <p:sp>
        <p:nvSpPr>
          <p:cNvPr id="113" name="3. Subtitle">
            <a:extLst>
              <a:ext uri="{FF2B5EF4-FFF2-40B4-BE49-F238E27FC236}">
                <a16:creationId xmlns:a16="http://schemas.microsoft.com/office/drawing/2014/main" id="{D100DAF0-DB18-47C0-B588-455700188B8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3399601" y="3915931"/>
            <a:ext cx="5392799" cy="276999"/>
          </a:xfrm>
        </p:spPr>
        <p:txBody>
          <a:bodyPr wrap="square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</p:spTree>
    <p:extLst>
      <p:ext uri="{BB962C8B-B14F-4D97-AF65-F5344CB8AC3E}">
        <p14:creationId xmlns:p14="http://schemas.microsoft.com/office/powerpoint/2010/main" val="19924084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16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4303CC90-1BC7-4507-9AA1-89D923DFD0E6}"/>
              </a:ext>
            </a:extLst>
          </p:cNvPr>
          <p:cNvSpPr/>
          <p:nvPr userDrawn="1"/>
        </p:nvSpPr>
        <p:spPr>
          <a:xfrm rot="19172267">
            <a:off x="7982408" y="4624537"/>
            <a:ext cx="5853826" cy="2890271"/>
          </a:xfrm>
          <a:custGeom>
            <a:avLst/>
            <a:gdLst>
              <a:gd name="connsiteX0" fmla="*/ 5953001 w 5953001"/>
              <a:gd name="connsiteY0" fmla="*/ 0 h 2939238"/>
              <a:gd name="connsiteX1" fmla="*/ 3446004 w 5953001"/>
              <a:gd name="connsiteY1" fmla="*/ 2939238 h 2939238"/>
              <a:gd name="connsiteX2" fmla="*/ 0 w 5953001"/>
              <a:gd name="connsiteY2" fmla="*/ 0 h 2939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001" h="2939238">
                <a:moveTo>
                  <a:pt x="5953001" y="0"/>
                </a:moveTo>
                <a:lnTo>
                  <a:pt x="3446004" y="293923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571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2" name="2. Slide Title">
            <a:extLst>
              <a:ext uri="{FF2B5EF4-FFF2-40B4-BE49-F238E27FC236}">
                <a16:creationId xmlns:a16="http://schemas.microsoft.com/office/drawing/2014/main" id="{666AB9C0-EBA6-41C3-A306-278C851B3D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61435" y="2611980"/>
            <a:ext cx="5392799" cy="110799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3600" i="0" dirty="0">
                <a:latin typeface="+mn-lt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</a:lstStyle>
          <a:p>
            <a:pPr lvl="0"/>
            <a:r>
              <a:rPr lang="en-US" dirty="0"/>
              <a:t>“Click to add quote”-</a:t>
            </a:r>
            <a:r>
              <a:rPr lang="en-IN" altLang="zh-CN" sz="3600" dirty="0">
                <a:solidFill>
                  <a:schemeClr val="tx1"/>
                </a:solidFill>
                <a:latin typeface="Inter Black" panose="02000503000000020004" pitchFamily="2" charset="0"/>
                <a:ea typeface="Inter Black" panose="02000503000000020004" pitchFamily="2" charset="0"/>
              </a:rPr>
              <a:t>Inter, 36pt</a:t>
            </a:r>
            <a:endParaRPr lang="en-US" dirty="0"/>
          </a:p>
        </p:txBody>
      </p:sp>
      <p:sp>
        <p:nvSpPr>
          <p:cNvPr id="113" name="3. Subtitle">
            <a:extLst>
              <a:ext uri="{FF2B5EF4-FFF2-40B4-BE49-F238E27FC236}">
                <a16:creationId xmlns:a16="http://schemas.microsoft.com/office/drawing/2014/main" id="{D100DAF0-DB18-47C0-B588-455700188B8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561435" y="3915931"/>
            <a:ext cx="5392799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 – Inter, 16pt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9EF18B32-6EA4-4D95-951E-94F5B4211B6F}"/>
              </a:ext>
            </a:extLst>
          </p:cNvPr>
          <p:cNvGrpSpPr/>
          <p:nvPr userDrawn="1"/>
        </p:nvGrpSpPr>
        <p:grpSpPr>
          <a:xfrm>
            <a:off x="6836410" y="5517853"/>
            <a:ext cx="1340147" cy="1340147"/>
            <a:chOff x="7533568" y="2874092"/>
            <a:chExt cx="1218315" cy="1218315"/>
          </a:xfrm>
          <a:solidFill>
            <a:schemeClr val="tx1"/>
          </a:solidFill>
        </p:grpSpPr>
        <p:sp>
          <p:nvSpPr>
            <p:cNvPr id="117" name="타원 59">
              <a:extLst>
                <a:ext uri="{FF2B5EF4-FFF2-40B4-BE49-F238E27FC236}">
                  <a16:creationId xmlns:a16="http://schemas.microsoft.com/office/drawing/2014/main" id="{46FDFD8C-7DB8-4E7F-8C0F-445B4EF7F29F}"/>
                </a:ext>
              </a:extLst>
            </p:cNvPr>
            <p:cNvSpPr/>
            <p:nvPr/>
          </p:nvSpPr>
          <p:spPr>
            <a:xfrm>
              <a:off x="7533568" y="2874092"/>
              <a:ext cx="1218315" cy="1218315"/>
            </a:xfrm>
            <a:prstGeom prst="ellipse">
              <a:avLst/>
            </a:prstGeom>
            <a:grpFill/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타원 62">
              <a:extLst>
                <a:ext uri="{FF2B5EF4-FFF2-40B4-BE49-F238E27FC236}">
                  <a16:creationId xmlns:a16="http://schemas.microsoft.com/office/drawing/2014/main" id="{C2194F88-D7CF-4A89-A612-6C668A89AB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70923" y="3211447"/>
              <a:ext cx="543605" cy="543605"/>
            </a:xfrm>
            <a:prstGeom prst="diamond">
              <a:avLst/>
            </a:prstGeom>
            <a:solidFill>
              <a:schemeClr val="bg1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9" name="타원 59">
            <a:extLst>
              <a:ext uri="{FF2B5EF4-FFF2-40B4-BE49-F238E27FC236}">
                <a16:creationId xmlns:a16="http://schemas.microsoft.com/office/drawing/2014/main" id="{8794EF7F-FAC3-4D07-B3F0-5F3C83F6D9B9}"/>
              </a:ext>
            </a:extLst>
          </p:cNvPr>
          <p:cNvSpPr/>
          <p:nvPr userDrawn="1"/>
        </p:nvSpPr>
        <p:spPr>
          <a:xfrm rot="1077352">
            <a:off x="8135786" y="5175842"/>
            <a:ext cx="720936" cy="720936"/>
          </a:xfrm>
          <a:prstGeom prst="rect">
            <a:avLst/>
          </a:pr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타원 59">
            <a:extLst>
              <a:ext uri="{FF2B5EF4-FFF2-40B4-BE49-F238E27FC236}">
                <a16:creationId xmlns:a16="http://schemas.microsoft.com/office/drawing/2014/main" id="{BF06E699-C341-4E20-96EC-F84B8D3A4672}"/>
              </a:ext>
            </a:extLst>
          </p:cNvPr>
          <p:cNvSpPr/>
          <p:nvPr userDrawn="1"/>
        </p:nvSpPr>
        <p:spPr>
          <a:xfrm rot="5116386">
            <a:off x="8947708" y="5015666"/>
            <a:ext cx="516684" cy="516684"/>
          </a:xfrm>
          <a:prstGeom prst="ellipse">
            <a:avLst/>
          </a:prstGeom>
          <a:solidFill>
            <a:schemeClr val="tx1"/>
          </a:solidFill>
          <a:ln w="571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6348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62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CE1F5BA-97E9-4317-875D-866C358E0B2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4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FCD9890-41C3-4E50-9CDA-DC42A68F121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1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506577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C44836-C54B-420E-B45C-22ED2EA2CAF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13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760446"/>
            <a:ext cx="6967728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69677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A5D520-61A8-45DE-B108-8E0C58DDAF2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57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7918704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7918704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525355-2224-41B2-B4DA-6F8BA7CEFF4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83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760446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179162"/>
            <a:ext cx="506577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819A221-D018-4BF9-ACDB-243AE0DEE08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58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DB294E-F9D7-43EC-9321-11166F09469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Yellow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070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">
            <a:extLst>
              <a:ext uri="{FF2B5EF4-FFF2-40B4-BE49-F238E27FC236}">
                <a16:creationId xmlns:a16="http://schemas.microsoft.com/office/drawing/2014/main" id="{A3E5D1AD-065D-42BC-9725-D9C32320F3C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FFC90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179162"/>
            <a:ext cx="11082528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GB" altLang="zh-CN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760446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altLang="zh-CN"/>
              <a:t>Click to edit Master title styl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9FBC1C-BE91-453A-AD08-76A3F0BE9408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199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29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3EE8A5-C9CC-4C59-AA50-4FEBAD63011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16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145167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6C8CF2-4498-4ACB-9F35-03C8A95D35D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9D6800-A020-4D07-BBCE-3D497164944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41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03BF9E5-F21F-4838-9333-6C00B1AF322A}"/>
              </a:ext>
            </a:extLst>
          </p:cNvPr>
          <p:cNvGrpSpPr/>
          <p:nvPr userDrawn="1"/>
        </p:nvGrpSpPr>
        <p:grpSpPr>
          <a:xfrm>
            <a:off x="-660564" y="0"/>
            <a:ext cx="2715506" cy="7124748"/>
            <a:chOff x="-660564" y="0"/>
            <a:chExt cx="2715506" cy="7124748"/>
          </a:xfrm>
        </p:grpSpPr>
        <p:sp>
          <p:nvSpPr>
            <p:cNvPr id="56" name="타원 59">
              <a:extLst>
                <a:ext uri="{FF2B5EF4-FFF2-40B4-BE49-F238E27FC236}">
                  <a16:creationId xmlns:a16="http://schemas.microsoft.com/office/drawing/2014/main" id="{3F348C77-AA49-42A4-A15F-73058BAEA06E}"/>
                </a:ext>
              </a:extLst>
            </p:cNvPr>
            <p:cNvSpPr/>
            <p:nvPr/>
          </p:nvSpPr>
          <p:spPr>
            <a:xfrm rot="17404054" flipH="1">
              <a:off x="129253" y="2149292"/>
              <a:ext cx="915338" cy="915338"/>
            </a:xfrm>
            <a:prstGeom prst="rect">
              <a:avLst/>
            </a:prstGeom>
            <a:solidFill>
              <a:srgbClr val="FFC900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AF21491B-C7CA-43C0-9C37-45901B3940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6200000">
              <a:off x="0" y="0"/>
              <a:ext cx="2054942" cy="2054942"/>
            </a:xfrm>
            <a:prstGeom prst="rect">
              <a:avLst/>
            </a:prstGeom>
          </p:spPr>
        </p:pic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13977AE0-4D77-4274-9212-CC67EB8C3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4054244">
              <a:off x="161949" y="4489357"/>
              <a:ext cx="1041083" cy="1046965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44036BE-0C86-4051-B489-840BED55195C}"/>
                </a:ext>
              </a:extLst>
            </p:cNvPr>
            <p:cNvGrpSpPr/>
            <p:nvPr/>
          </p:nvGrpSpPr>
          <p:grpSpPr>
            <a:xfrm>
              <a:off x="0" y="3155019"/>
              <a:ext cx="1280160" cy="1280160"/>
              <a:chOff x="0" y="3174683"/>
              <a:chExt cx="879158" cy="87915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BF7F58DF-BB18-4D8A-9281-737C6FD977CE}"/>
                  </a:ext>
                </a:extLst>
              </p:cNvPr>
              <p:cNvSpPr/>
              <p:nvPr/>
            </p:nvSpPr>
            <p:spPr>
              <a:xfrm>
                <a:off x="0" y="3174683"/>
                <a:ext cx="879158" cy="879158"/>
              </a:xfrm>
              <a:custGeom>
                <a:avLst/>
                <a:gdLst>
                  <a:gd name="connsiteX0" fmla="*/ 879158 w 879158"/>
                  <a:gd name="connsiteY0" fmla="*/ 439579 h 879158"/>
                  <a:gd name="connsiteX1" fmla="*/ 439579 w 879158"/>
                  <a:gd name="connsiteY1" fmla="*/ 879158 h 879158"/>
                  <a:gd name="connsiteX2" fmla="*/ 0 w 879158"/>
                  <a:gd name="connsiteY2" fmla="*/ 439579 h 879158"/>
                  <a:gd name="connsiteX3" fmla="*/ 439579 w 879158"/>
                  <a:gd name="connsiteY3" fmla="*/ 0 h 879158"/>
                  <a:gd name="connsiteX4" fmla="*/ 879158 w 879158"/>
                  <a:gd name="connsiteY4" fmla="*/ 439579 h 8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9158" h="879158">
                    <a:moveTo>
                      <a:pt x="879158" y="439579"/>
                    </a:moveTo>
                    <a:cubicBezTo>
                      <a:pt x="879158" y="682352"/>
                      <a:pt x="682352" y="879158"/>
                      <a:pt x="439579" y="879158"/>
                    </a:cubicBezTo>
                    <a:cubicBezTo>
                      <a:pt x="196806" y="879158"/>
                      <a:pt x="0" y="682352"/>
                      <a:pt x="0" y="439579"/>
                    </a:cubicBezTo>
                    <a:cubicBezTo>
                      <a:pt x="0" y="196806"/>
                      <a:pt x="196806" y="0"/>
                      <a:pt x="439579" y="0"/>
                    </a:cubicBezTo>
                    <a:cubicBezTo>
                      <a:pt x="682352" y="0"/>
                      <a:pt x="879158" y="196806"/>
                      <a:pt x="879158" y="4395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A3A15580-721D-4ADE-B196-EF172D2A94FA}"/>
                  </a:ext>
                </a:extLst>
              </p:cNvPr>
              <p:cNvSpPr/>
              <p:nvPr/>
            </p:nvSpPr>
            <p:spPr>
              <a:xfrm rot="18900000">
                <a:off x="307523" y="3482187"/>
                <a:ext cx="264149" cy="264149"/>
              </a:xfrm>
              <a:custGeom>
                <a:avLst/>
                <a:gdLst>
                  <a:gd name="connsiteX0" fmla="*/ 0 w 264149"/>
                  <a:gd name="connsiteY0" fmla="*/ 0 h 264149"/>
                  <a:gd name="connsiteX1" fmla="*/ 264149 w 264149"/>
                  <a:gd name="connsiteY1" fmla="*/ 0 h 264149"/>
                  <a:gd name="connsiteX2" fmla="*/ 264149 w 264149"/>
                  <a:gd name="connsiteY2" fmla="*/ 264149 h 264149"/>
                  <a:gd name="connsiteX3" fmla="*/ 0 w 264149"/>
                  <a:gd name="connsiteY3" fmla="*/ 264149 h 2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149" h="264149">
                    <a:moveTo>
                      <a:pt x="0" y="0"/>
                    </a:moveTo>
                    <a:lnTo>
                      <a:pt x="264149" y="0"/>
                    </a:lnTo>
                    <a:lnTo>
                      <a:pt x="264149" y="264149"/>
                    </a:lnTo>
                    <a:lnTo>
                      <a:pt x="0" y="264149"/>
                    </a:lnTo>
                    <a:close/>
                  </a:path>
                </a:pathLst>
              </a:custGeom>
              <a:solidFill>
                <a:schemeClr val="bg1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02F736E-A233-4597-9546-05A4E9FFD052}"/>
                </a:ext>
              </a:extLst>
            </p:cNvPr>
            <p:cNvSpPr/>
            <p:nvPr/>
          </p:nvSpPr>
          <p:spPr>
            <a:xfrm rot="2427733" flipH="1">
              <a:off x="-660564" y="5972800"/>
              <a:ext cx="2333104" cy="1151948"/>
            </a:xfrm>
            <a:custGeom>
              <a:avLst/>
              <a:gdLst>
                <a:gd name="connsiteX0" fmla="*/ 5953001 w 5953001"/>
                <a:gd name="connsiteY0" fmla="*/ 0 h 2939238"/>
                <a:gd name="connsiteX1" fmla="*/ 3446004 w 5953001"/>
                <a:gd name="connsiteY1" fmla="*/ 2939238 h 2939238"/>
                <a:gd name="connsiteX2" fmla="*/ 0 w 5953001"/>
                <a:gd name="connsiteY2" fmla="*/ 0 h 293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53001" h="2939238">
                  <a:moveTo>
                    <a:pt x="5953001" y="0"/>
                  </a:moveTo>
                  <a:lnTo>
                    <a:pt x="3446004" y="29392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571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9D735D8-3A75-4A99-B2C9-C6C7F519D875}"/>
              </a:ext>
            </a:extLst>
          </p:cNvPr>
          <p:cNvGrpSpPr/>
          <p:nvPr userDrawn="1"/>
        </p:nvGrpSpPr>
        <p:grpSpPr>
          <a:xfrm rot="10800000" flipH="1">
            <a:off x="10137058" y="-266748"/>
            <a:ext cx="2714260" cy="7124748"/>
            <a:chOff x="10137057" y="0"/>
            <a:chExt cx="2714260" cy="7124748"/>
          </a:xfrm>
        </p:grpSpPr>
        <p:sp>
          <p:nvSpPr>
            <p:cNvPr id="64" name="타원 59">
              <a:extLst>
                <a:ext uri="{FF2B5EF4-FFF2-40B4-BE49-F238E27FC236}">
                  <a16:creationId xmlns:a16="http://schemas.microsoft.com/office/drawing/2014/main" id="{A2DC71FB-18D4-4A96-AB08-1CE943B6F61C}"/>
                </a:ext>
              </a:extLst>
            </p:cNvPr>
            <p:cNvSpPr/>
            <p:nvPr/>
          </p:nvSpPr>
          <p:spPr>
            <a:xfrm rot="4195946">
              <a:off x="10956271" y="2149292"/>
              <a:ext cx="915338" cy="915338"/>
            </a:xfrm>
            <a:prstGeom prst="rect">
              <a:avLst/>
            </a:prstGeom>
            <a:solidFill>
              <a:schemeClr val="tx1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8E57F9B6-09D5-41A6-8D32-0B1C32D15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H="1">
              <a:off x="10137057" y="0"/>
              <a:ext cx="2054942" cy="2054942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0B0E34E8-F1FB-4097-99E6-A0E8699223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17545756" flipH="1">
              <a:off x="10988967" y="4489357"/>
              <a:ext cx="1041083" cy="1046965"/>
            </a:xfrm>
            <a:prstGeom prst="rect">
              <a:avLst/>
            </a:prstGeom>
          </p:spPr>
        </p:pic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CAB53ACD-5098-490A-8F08-46F30EB1BAE7}"/>
                </a:ext>
              </a:extLst>
            </p:cNvPr>
            <p:cNvGrpSpPr/>
            <p:nvPr/>
          </p:nvGrpSpPr>
          <p:grpSpPr>
            <a:xfrm flipH="1">
              <a:off x="10827018" y="3155019"/>
              <a:ext cx="1280160" cy="1280160"/>
              <a:chOff x="-473835" y="3174683"/>
              <a:chExt cx="879158" cy="879158"/>
            </a:xfrm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F13A1C91-32FC-4DA6-8125-623D5D67BFF4}"/>
                  </a:ext>
                </a:extLst>
              </p:cNvPr>
              <p:cNvSpPr/>
              <p:nvPr/>
            </p:nvSpPr>
            <p:spPr>
              <a:xfrm>
                <a:off x="-473835" y="3174683"/>
                <a:ext cx="879158" cy="879158"/>
              </a:xfrm>
              <a:custGeom>
                <a:avLst/>
                <a:gdLst>
                  <a:gd name="connsiteX0" fmla="*/ 879158 w 879158"/>
                  <a:gd name="connsiteY0" fmla="*/ 439579 h 879158"/>
                  <a:gd name="connsiteX1" fmla="*/ 439579 w 879158"/>
                  <a:gd name="connsiteY1" fmla="*/ 879158 h 879158"/>
                  <a:gd name="connsiteX2" fmla="*/ 0 w 879158"/>
                  <a:gd name="connsiteY2" fmla="*/ 439579 h 879158"/>
                  <a:gd name="connsiteX3" fmla="*/ 439579 w 879158"/>
                  <a:gd name="connsiteY3" fmla="*/ 0 h 879158"/>
                  <a:gd name="connsiteX4" fmla="*/ 879158 w 879158"/>
                  <a:gd name="connsiteY4" fmla="*/ 439579 h 8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9158" h="879158">
                    <a:moveTo>
                      <a:pt x="879158" y="439579"/>
                    </a:moveTo>
                    <a:cubicBezTo>
                      <a:pt x="879158" y="682352"/>
                      <a:pt x="682352" y="879158"/>
                      <a:pt x="439579" y="879158"/>
                    </a:cubicBezTo>
                    <a:cubicBezTo>
                      <a:pt x="196806" y="879158"/>
                      <a:pt x="0" y="682352"/>
                      <a:pt x="0" y="439579"/>
                    </a:cubicBezTo>
                    <a:cubicBezTo>
                      <a:pt x="0" y="196806"/>
                      <a:pt x="196806" y="0"/>
                      <a:pt x="439579" y="0"/>
                    </a:cubicBezTo>
                    <a:cubicBezTo>
                      <a:pt x="682352" y="0"/>
                      <a:pt x="879158" y="196806"/>
                      <a:pt x="879158" y="439579"/>
                    </a:cubicBezTo>
                    <a:close/>
                  </a:path>
                </a:pathLst>
              </a:custGeom>
              <a:solidFill>
                <a:srgbClr val="FFC900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CDA7D700-51CD-4632-9F4D-06BA55E0464E}"/>
                  </a:ext>
                </a:extLst>
              </p:cNvPr>
              <p:cNvSpPr/>
              <p:nvPr/>
            </p:nvSpPr>
            <p:spPr>
              <a:xfrm rot="18900000">
                <a:off x="-166312" y="3482187"/>
                <a:ext cx="264149" cy="264149"/>
              </a:xfrm>
              <a:custGeom>
                <a:avLst/>
                <a:gdLst>
                  <a:gd name="connsiteX0" fmla="*/ 0 w 264149"/>
                  <a:gd name="connsiteY0" fmla="*/ 0 h 264149"/>
                  <a:gd name="connsiteX1" fmla="*/ 264149 w 264149"/>
                  <a:gd name="connsiteY1" fmla="*/ 0 h 264149"/>
                  <a:gd name="connsiteX2" fmla="*/ 264149 w 264149"/>
                  <a:gd name="connsiteY2" fmla="*/ 264149 h 264149"/>
                  <a:gd name="connsiteX3" fmla="*/ 0 w 264149"/>
                  <a:gd name="connsiteY3" fmla="*/ 264149 h 2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149" h="264149">
                    <a:moveTo>
                      <a:pt x="0" y="0"/>
                    </a:moveTo>
                    <a:lnTo>
                      <a:pt x="264149" y="0"/>
                    </a:lnTo>
                    <a:lnTo>
                      <a:pt x="264149" y="264149"/>
                    </a:lnTo>
                    <a:lnTo>
                      <a:pt x="0" y="264149"/>
                    </a:lnTo>
                    <a:close/>
                  </a:path>
                </a:pathLst>
              </a:custGeom>
              <a:solidFill>
                <a:schemeClr val="bg1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74211A7-6AE0-40B5-A459-06F2E66C2D15}"/>
                </a:ext>
              </a:extLst>
            </p:cNvPr>
            <p:cNvSpPr/>
            <p:nvPr/>
          </p:nvSpPr>
          <p:spPr>
            <a:xfrm rot="19172267">
              <a:off x="10518213" y="5972800"/>
              <a:ext cx="2333104" cy="1151948"/>
            </a:xfrm>
            <a:custGeom>
              <a:avLst/>
              <a:gdLst>
                <a:gd name="connsiteX0" fmla="*/ 5953001 w 5953001"/>
                <a:gd name="connsiteY0" fmla="*/ 0 h 2939238"/>
                <a:gd name="connsiteX1" fmla="*/ 3446004 w 5953001"/>
                <a:gd name="connsiteY1" fmla="*/ 2939238 h 2939238"/>
                <a:gd name="connsiteX2" fmla="*/ 0 w 5953001"/>
                <a:gd name="connsiteY2" fmla="*/ 0 h 293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53001" h="2939238">
                  <a:moveTo>
                    <a:pt x="5953001" y="0"/>
                  </a:moveTo>
                  <a:lnTo>
                    <a:pt x="3446004" y="29392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lumOff val="15000"/>
              </a:schemeClr>
            </a:solidFill>
            <a:ln w="571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1" name="Picture 70">
            <a:extLst>
              <a:ext uri="{FF2B5EF4-FFF2-40B4-BE49-F238E27FC236}">
                <a16:creationId xmlns:a16="http://schemas.microsoft.com/office/drawing/2014/main" id="{3287FF49-3331-44B5-AC8F-E6CD1FBBEF6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  <p:sp>
        <p:nvSpPr>
          <p:cNvPr id="22" name="Slide Number">
            <a:extLst>
              <a:ext uri="{FF2B5EF4-FFF2-40B4-BE49-F238E27FC236}">
                <a16:creationId xmlns:a16="http://schemas.microsoft.com/office/drawing/2014/main" id="{A4475578-30DE-4B94-936A-CCC0DAC71A8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6CE8D6D-BE8D-46CA-A7BF-5A329887C7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77481" y="3111038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4825750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1DA00B2-7E0C-4818-9A40-A5B579D412B0}"/>
              </a:ext>
            </a:extLst>
          </p:cNvPr>
          <p:cNvSpPr/>
          <p:nvPr userDrawn="1"/>
        </p:nvSpPr>
        <p:spPr>
          <a:xfrm>
            <a:off x="1356286" y="2038280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6" name="Graphic 33">
            <a:extLst>
              <a:ext uri="{FF2B5EF4-FFF2-40B4-BE49-F238E27FC236}">
                <a16:creationId xmlns:a16="http://schemas.microsoft.com/office/drawing/2014/main" id="{ACF50B41-EECB-4BF3-A748-2E596BA99CCC}"/>
              </a:ext>
            </a:extLst>
          </p:cNvPr>
          <p:cNvGrpSpPr/>
          <p:nvPr userDrawn="1"/>
        </p:nvGrpSpPr>
        <p:grpSpPr>
          <a:xfrm>
            <a:off x="1356286" y="4492867"/>
            <a:ext cx="324073" cy="324194"/>
            <a:chOff x="1447630" y="5547551"/>
            <a:chExt cx="324073" cy="324194"/>
          </a:xfrm>
          <a:solidFill>
            <a:srgbClr val="FFC900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5319131-28EE-42ED-A386-F769E78D419B}"/>
                </a:ext>
              </a:extLst>
            </p:cNvPr>
            <p:cNvSpPr/>
            <p:nvPr/>
          </p:nvSpPr>
          <p:spPr>
            <a:xfrm>
              <a:off x="1447660" y="5547551"/>
              <a:ext cx="324042" cy="324194"/>
            </a:xfrm>
            <a:custGeom>
              <a:avLst/>
              <a:gdLst>
                <a:gd name="connsiteX0" fmla="*/ 324013 w 324042"/>
                <a:gd name="connsiteY0" fmla="*/ 43282 h 324194"/>
                <a:gd name="connsiteX1" fmla="*/ 321571 w 324042"/>
                <a:gd name="connsiteY1" fmla="*/ 45452 h 324194"/>
                <a:gd name="connsiteX2" fmla="*/ 45151 w 324042"/>
                <a:gd name="connsiteY2" fmla="*/ 321933 h 324194"/>
                <a:gd name="connsiteX3" fmla="*/ 39695 w 324042"/>
                <a:gd name="connsiteY3" fmla="*/ 324194 h 324194"/>
                <a:gd name="connsiteX4" fmla="*/ 3346 w 324042"/>
                <a:gd name="connsiteY4" fmla="*/ 324133 h 324194"/>
                <a:gd name="connsiteX5" fmla="*/ 0 w 324042"/>
                <a:gd name="connsiteY5" fmla="*/ 324133 h 324194"/>
                <a:gd name="connsiteX6" fmla="*/ 0 w 324042"/>
                <a:gd name="connsiteY6" fmla="*/ 320547 h 324194"/>
                <a:gd name="connsiteX7" fmla="*/ 995 w 324042"/>
                <a:gd name="connsiteY7" fmla="*/ 319281 h 324194"/>
                <a:gd name="connsiteX8" fmla="*/ 3225 w 324042"/>
                <a:gd name="connsiteY8" fmla="*/ 316869 h 324194"/>
                <a:gd name="connsiteX9" fmla="*/ 317653 w 324042"/>
                <a:gd name="connsiteY9" fmla="*/ 2441 h 324194"/>
                <a:gd name="connsiteX10" fmla="*/ 319823 w 324042"/>
                <a:gd name="connsiteY10" fmla="*/ 0 h 324194"/>
                <a:gd name="connsiteX11" fmla="*/ 324043 w 324042"/>
                <a:gd name="connsiteY11" fmla="*/ 0 h 324194"/>
                <a:gd name="connsiteX12" fmla="*/ 324043 w 324042"/>
                <a:gd name="connsiteY12" fmla="*/ 43312 h 32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4042" h="324194">
                  <a:moveTo>
                    <a:pt x="324013" y="43282"/>
                  </a:moveTo>
                  <a:cubicBezTo>
                    <a:pt x="323199" y="44005"/>
                    <a:pt x="322355" y="44669"/>
                    <a:pt x="321571" y="45452"/>
                  </a:cubicBezTo>
                  <a:cubicBezTo>
                    <a:pt x="229401" y="137592"/>
                    <a:pt x="137261" y="229733"/>
                    <a:pt x="45151" y="321933"/>
                  </a:cubicBezTo>
                  <a:cubicBezTo>
                    <a:pt x="43523" y="323561"/>
                    <a:pt x="41956" y="324224"/>
                    <a:pt x="39695" y="324194"/>
                  </a:cubicBezTo>
                  <a:cubicBezTo>
                    <a:pt x="27579" y="324103"/>
                    <a:pt x="15462" y="324133"/>
                    <a:pt x="3346" y="324133"/>
                  </a:cubicBezTo>
                  <a:lnTo>
                    <a:pt x="0" y="324133"/>
                  </a:lnTo>
                  <a:cubicBezTo>
                    <a:pt x="0" y="322717"/>
                    <a:pt x="0" y="321632"/>
                    <a:pt x="0" y="320547"/>
                  </a:cubicBezTo>
                  <a:cubicBezTo>
                    <a:pt x="332" y="320125"/>
                    <a:pt x="663" y="319703"/>
                    <a:pt x="995" y="319281"/>
                  </a:cubicBezTo>
                  <a:cubicBezTo>
                    <a:pt x="1748" y="318467"/>
                    <a:pt x="2441" y="317653"/>
                    <a:pt x="3225" y="316869"/>
                  </a:cubicBezTo>
                  <a:cubicBezTo>
                    <a:pt x="108024" y="212070"/>
                    <a:pt x="212854" y="107241"/>
                    <a:pt x="317653" y="2441"/>
                  </a:cubicBezTo>
                  <a:cubicBezTo>
                    <a:pt x="318407" y="1688"/>
                    <a:pt x="319100" y="814"/>
                    <a:pt x="319823" y="0"/>
                  </a:cubicBezTo>
                  <a:cubicBezTo>
                    <a:pt x="321240" y="0"/>
                    <a:pt x="322626" y="0"/>
                    <a:pt x="324043" y="0"/>
                  </a:cubicBezTo>
                  <a:lnTo>
                    <a:pt x="324043" y="4331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DE11289-ECA2-42E7-B111-C43BE9AAF88D}"/>
                </a:ext>
              </a:extLst>
            </p:cNvPr>
            <p:cNvSpPr/>
            <p:nvPr/>
          </p:nvSpPr>
          <p:spPr>
            <a:xfrm>
              <a:off x="1447660" y="5547551"/>
              <a:ext cx="274702" cy="274250"/>
            </a:xfrm>
            <a:custGeom>
              <a:avLst/>
              <a:gdLst>
                <a:gd name="connsiteX0" fmla="*/ 274703 w 274702"/>
                <a:gd name="connsiteY0" fmla="*/ 0 h 274250"/>
                <a:gd name="connsiteX1" fmla="*/ 272774 w 274702"/>
                <a:gd name="connsiteY1" fmla="*/ 2230 h 274250"/>
                <a:gd name="connsiteX2" fmla="*/ 2954 w 274702"/>
                <a:gd name="connsiteY2" fmla="*/ 272050 h 274250"/>
                <a:gd name="connsiteX3" fmla="*/ 512 w 274702"/>
                <a:gd name="connsiteY3" fmla="*/ 274250 h 274250"/>
                <a:gd name="connsiteX4" fmla="*/ 0 w 274702"/>
                <a:gd name="connsiteY4" fmla="*/ 274220 h 274250"/>
                <a:gd name="connsiteX5" fmla="*/ 0 w 274702"/>
                <a:gd name="connsiteY5" fmla="*/ 228557 h 274250"/>
                <a:gd name="connsiteX6" fmla="*/ 1085 w 274702"/>
                <a:gd name="connsiteY6" fmla="*/ 227412 h 274250"/>
                <a:gd name="connsiteX7" fmla="*/ 2863 w 274702"/>
                <a:gd name="connsiteY7" fmla="*/ 225844 h 274250"/>
                <a:gd name="connsiteX8" fmla="*/ 226658 w 274702"/>
                <a:gd name="connsiteY8" fmla="*/ 2050 h 274250"/>
                <a:gd name="connsiteX9" fmla="*/ 228376 w 274702"/>
                <a:gd name="connsiteY9" fmla="*/ 30 h 274250"/>
                <a:gd name="connsiteX10" fmla="*/ 274672 w 274702"/>
                <a:gd name="connsiteY10" fmla="*/ 30 h 27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702" h="274250">
                  <a:moveTo>
                    <a:pt x="274703" y="0"/>
                  </a:moveTo>
                  <a:cubicBezTo>
                    <a:pt x="274070" y="754"/>
                    <a:pt x="273467" y="1537"/>
                    <a:pt x="272774" y="2230"/>
                  </a:cubicBezTo>
                  <a:cubicBezTo>
                    <a:pt x="182834" y="92170"/>
                    <a:pt x="92894" y="182110"/>
                    <a:pt x="2954" y="272050"/>
                  </a:cubicBezTo>
                  <a:cubicBezTo>
                    <a:pt x="2170" y="272834"/>
                    <a:pt x="1326" y="273527"/>
                    <a:pt x="512" y="274250"/>
                  </a:cubicBezTo>
                  <a:cubicBezTo>
                    <a:pt x="332" y="274250"/>
                    <a:pt x="181" y="274250"/>
                    <a:pt x="0" y="274220"/>
                  </a:cubicBezTo>
                  <a:cubicBezTo>
                    <a:pt x="0" y="258999"/>
                    <a:pt x="0" y="243778"/>
                    <a:pt x="0" y="228557"/>
                  </a:cubicBezTo>
                  <a:cubicBezTo>
                    <a:pt x="362" y="228165"/>
                    <a:pt x="723" y="227804"/>
                    <a:pt x="1085" y="227412"/>
                  </a:cubicBezTo>
                  <a:cubicBezTo>
                    <a:pt x="1688" y="226899"/>
                    <a:pt x="2321" y="226387"/>
                    <a:pt x="2863" y="225844"/>
                  </a:cubicBezTo>
                  <a:cubicBezTo>
                    <a:pt x="77462" y="151246"/>
                    <a:pt x="152060" y="76648"/>
                    <a:pt x="226658" y="2050"/>
                  </a:cubicBezTo>
                  <a:cubicBezTo>
                    <a:pt x="227291" y="1417"/>
                    <a:pt x="227804" y="693"/>
                    <a:pt x="228376" y="30"/>
                  </a:cubicBezTo>
                  <a:cubicBezTo>
                    <a:pt x="243808" y="30"/>
                    <a:pt x="259240" y="30"/>
                    <a:pt x="274672" y="3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CC4B260-B9E2-46AA-A7D3-80072AB662DB}"/>
                </a:ext>
              </a:extLst>
            </p:cNvPr>
            <p:cNvSpPr/>
            <p:nvPr/>
          </p:nvSpPr>
          <p:spPr>
            <a:xfrm>
              <a:off x="1535912" y="5635954"/>
              <a:ext cx="235760" cy="235791"/>
            </a:xfrm>
            <a:custGeom>
              <a:avLst/>
              <a:gdLst>
                <a:gd name="connsiteX0" fmla="*/ 235761 w 235760"/>
                <a:gd name="connsiteY0" fmla="*/ 46899 h 235791"/>
                <a:gd name="connsiteX1" fmla="*/ 233319 w 235760"/>
                <a:gd name="connsiteY1" fmla="*/ 49069 h 235791"/>
                <a:gd name="connsiteX2" fmla="*/ 49099 w 235760"/>
                <a:gd name="connsiteY2" fmla="*/ 233380 h 235791"/>
                <a:gd name="connsiteX3" fmla="*/ 43101 w 235760"/>
                <a:gd name="connsiteY3" fmla="*/ 235791 h 235791"/>
                <a:gd name="connsiteX4" fmla="*/ 0 w 235760"/>
                <a:gd name="connsiteY4" fmla="*/ 235731 h 235791"/>
                <a:gd name="connsiteX5" fmla="*/ 1869 w 235760"/>
                <a:gd name="connsiteY5" fmla="*/ 233591 h 235791"/>
                <a:gd name="connsiteX6" fmla="*/ 233952 w 235760"/>
                <a:gd name="connsiteY6" fmla="*/ 1507 h 235791"/>
                <a:gd name="connsiteX7" fmla="*/ 235761 w 235760"/>
                <a:gd name="connsiteY7" fmla="*/ 0 h 235791"/>
                <a:gd name="connsiteX8" fmla="*/ 235761 w 235760"/>
                <a:gd name="connsiteY8" fmla="*/ 46899 h 23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760" h="235791">
                  <a:moveTo>
                    <a:pt x="235761" y="46899"/>
                  </a:moveTo>
                  <a:cubicBezTo>
                    <a:pt x="234947" y="47622"/>
                    <a:pt x="234103" y="48285"/>
                    <a:pt x="233319" y="49069"/>
                  </a:cubicBezTo>
                  <a:cubicBezTo>
                    <a:pt x="171893" y="110496"/>
                    <a:pt x="110466" y="171893"/>
                    <a:pt x="49099" y="233380"/>
                  </a:cubicBezTo>
                  <a:cubicBezTo>
                    <a:pt x="47291" y="235188"/>
                    <a:pt x="45543" y="235821"/>
                    <a:pt x="43101" y="235791"/>
                  </a:cubicBezTo>
                  <a:cubicBezTo>
                    <a:pt x="28875" y="235700"/>
                    <a:pt x="14679" y="235731"/>
                    <a:pt x="0" y="235731"/>
                  </a:cubicBezTo>
                  <a:cubicBezTo>
                    <a:pt x="784" y="234826"/>
                    <a:pt x="1296" y="234163"/>
                    <a:pt x="1869" y="233591"/>
                  </a:cubicBezTo>
                  <a:cubicBezTo>
                    <a:pt x="79240" y="156219"/>
                    <a:pt x="156581" y="78878"/>
                    <a:pt x="233952" y="1507"/>
                  </a:cubicBezTo>
                  <a:cubicBezTo>
                    <a:pt x="234495" y="964"/>
                    <a:pt x="235158" y="482"/>
                    <a:pt x="235761" y="0"/>
                  </a:cubicBezTo>
                  <a:lnTo>
                    <a:pt x="23576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AF22993-FA8A-4B09-B116-F75DCABBA3AA}"/>
                </a:ext>
              </a:extLst>
            </p:cNvPr>
            <p:cNvSpPr/>
            <p:nvPr/>
          </p:nvSpPr>
          <p:spPr>
            <a:xfrm>
              <a:off x="1447630" y="5547551"/>
              <a:ext cx="183315" cy="182291"/>
            </a:xfrm>
            <a:custGeom>
              <a:avLst/>
              <a:gdLst>
                <a:gd name="connsiteX0" fmla="*/ 183316 w 183315"/>
                <a:gd name="connsiteY0" fmla="*/ 0 h 182291"/>
                <a:gd name="connsiteX1" fmla="*/ 181809 w 183315"/>
                <a:gd name="connsiteY1" fmla="*/ 1808 h 182291"/>
                <a:gd name="connsiteX2" fmla="*/ 2713 w 183315"/>
                <a:gd name="connsiteY2" fmla="*/ 180905 h 182291"/>
                <a:gd name="connsiteX3" fmla="*/ 1145 w 183315"/>
                <a:gd name="connsiteY3" fmla="*/ 182291 h 182291"/>
                <a:gd name="connsiteX4" fmla="*/ 0 w 183315"/>
                <a:gd name="connsiteY4" fmla="*/ 181628 h 182291"/>
                <a:gd name="connsiteX5" fmla="*/ 0 w 183315"/>
                <a:gd name="connsiteY5" fmla="*/ 137713 h 182291"/>
                <a:gd name="connsiteX6" fmla="*/ 452 w 183315"/>
                <a:gd name="connsiteY6" fmla="*/ 136477 h 182291"/>
                <a:gd name="connsiteX7" fmla="*/ 1115 w 183315"/>
                <a:gd name="connsiteY7" fmla="*/ 135392 h 182291"/>
                <a:gd name="connsiteX8" fmla="*/ 2683 w 183315"/>
                <a:gd name="connsiteY8" fmla="*/ 134036 h 182291"/>
                <a:gd name="connsiteX9" fmla="*/ 134880 w 183315"/>
                <a:gd name="connsiteY9" fmla="*/ 1808 h 182291"/>
                <a:gd name="connsiteX10" fmla="*/ 136387 w 183315"/>
                <a:gd name="connsiteY10" fmla="*/ 0 h 182291"/>
                <a:gd name="connsiteX11" fmla="*/ 183286 w 183315"/>
                <a:gd name="connsiteY11" fmla="*/ 0 h 18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315" h="182291">
                  <a:moveTo>
                    <a:pt x="183316" y="0"/>
                  </a:moveTo>
                  <a:cubicBezTo>
                    <a:pt x="182804" y="603"/>
                    <a:pt x="182351" y="1266"/>
                    <a:pt x="181809" y="1808"/>
                  </a:cubicBezTo>
                  <a:cubicBezTo>
                    <a:pt x="122130" y="61517"/>
                    <a:pt x="62421" y="121226"/>
                    <a:pt x="2713" y="180905"/>
                  </a:cubicBezTo>
                  <a:cubicBezTo>
                    <a:pt x="2230" y="181387"/>
                    <a:pt x="1658" y="181809"/>
                    <a:pt x="1145" y="182291"/>
                  </a:cubicBezTo>
                  <a:cubicBezTo>
                    <a:pt x="754" y="182080"/>
                    <a:pt x="392" y="181839"/>
                    <a:pt x="0" y="181628"/>
                  </a:cubicBezTo>
                  <a:cubicBezTo>
                    <a:pt x="0" y="166980"/>
                    <a:pt x="0" y="152361"/>
                    <a:pt x="0" y="137713"/>
                  </a:cubicBezTo>
                  <a:cubicBezTo>
                    <a:pt x="151" y="137291"/>
                    <a:pt x="301" y="136899"/>
                    <a:pt x="452" y="136477"/>
                  </a:cubicBezTo>
                  <a:cubicBezTo>
                    <a:pt x="663" y="136116"/>
                    <a:pt x="874" y="135754"/>
                    <a:pt x="1115" y="135392"/>
                  </a:cubicBezTo>
                  <a:cubicBezTo>
                    <a:pt x="1628" y="134940"/>
                    <a:pt x="2200" y="134518"/>
                    <a:pt x="2683" y="134036"/>
                  </a:cubicBezTo>
                  <a:cubicBezTo>
                    <a:pt x="46748" y="89970"/>
                    <a:pt x="90814" y="45904"/>
                    <a:pt x="134880" y="1808"/>
                  </a:cubicBezTo>
                  <a:cubicBezTo>
                    <a:pt x="135422" y="1266"/>
                    <a:pt x="135905" y="603"/>
                    <a:pt x="136387" y="0"/>
                  </a:cubicBezTo>
                  <a:cubicBezTo>
                    <a:pt x="152030" y="0"/>
                    <a:pt x="167673" y="0"/>
                    <a:pt x="18328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A6A9D1C-2E38-4F48-8259-E5E20FC0F28A}"/>
                </a:ext>
              </a:extLst>
            </p:cNvPr>
            <p:cNvSpPr/>
            <p:nvPr/>
          </p:nvSpPr>
          <p:spPr>
            <a:xfrm>
              <a:off x="1627931" y="5727974"/>
              <a:ext cx="143741" cy="143742"/>
            </a:xfrm>
            <a:custGeom>
              <a:avLst/>
              <a:gdLst>
                <a:gd name="connsiteX0" fmla="*/ 143741 w 143741"/>
                <a:gd name="connsiteY0" fmla="*/ 46899 h 143742"/>
                <a:gd name="connsiteX1" fmla="*/ 141300 w 143741"/>
                <a:gd name="connsiteY1" fmla="*/ 49069 h 143742"/>
                <a:gd name="connsiteX2" fmla="*/ 48888 w 143741"/>
                <a:gd name="connsiteY2" fmla="*/ 141541 h 143742"/>
                <a:gd name="connsiteX3" fmla="*/ 43403 w 143741"/>
                <a:gd name="connsiteY3" fmla="*/ 143741 h 143742"/>
                <a:gd name="connsiteX4" fmla="*/ 0 w 143741"/>
                <a:gd name="connsiteY4" fmla="*/ 143711 h 143742"/>
                <a:gd name="connsiteX5" fmla="*/ 1447 w 143741"/>
                <a:gd name="connsiteY5" fmla="*/ 141993 h 143742"/>
                <a:gd name="connsiteX6" fmla="*/ 142355 w 143741"/>
                <a:gd name="connsiteY6" fmla="*/ 1085 h 143742"/>
                <a:gd name="connsiteX7" fmla="*/ 143741 w 143741"/>
                <a:gd name="connsiteY7" fmla="*/ 0 h 143742"/>
                <a:gd name="connsiteX8" fmla="*/ 143741 w 143741"/>
                <a:gd name="connsiteY8" fmla="*/ 46899 h 14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741" h="143742">
                  <a:moveTo>
                    <a:pt x="143741" y="46899"/>
                  </a:moveTo>
                  <a:cubicBezTo>
                    <a:pt x="142927" y="47622"/>
                    <a:pt x="142083" y="48285"/>
                    <a:pt x="141300" y="49069"/>
                  </a:cubicBezTo>
                  <a:cubicBezTo>
                    <a:pt x="110466" y="79873"/>
                    <a:pt x="79632" y="110677"/>
                    <a:pt x="48888" y="141541"/>
                  </a:cubicBezTo>
                  <a:cubicBezTo>
                    <a:pt x="47261" y="143168"/>
                    <a:pt x="45663" y="143771"/>
                    <a:pt x="43403" y="143741"/>
                  </a:cubicBezTo>
                  <a:cubicBezTo>
                    <a:pt x="29086" y="143651"/>
                    <a:pt x="14769" y="143711"/>
                    <a:pt x="0" y="143711"/>
                  </a:cubicBezTo>
                  <a:cubicBezTo>
                    <a:pt x="633" y="142957"/>
                    <a:pt x="995" y="142415"/>
                    <a:pt x="1447" y="141993"/>
                  </a:cubicBezTo>
                  <a:cubicBezTo>
                    <a:pt x="48406" y="95004"/>
                    <a:pt x="95395" y="48044"/>
                    <a:pt x="142355" y="1085"/>
                  </a:cubicBezTo>
                  <a:cubicBezTo>
                    <a:pt x="142777" y="663"/>
                    <a:pt x="143289" y="362"/>
                    <a:pt x="143741" y="0"/>
                  </a:cubicBezTo>
                  <a:lnTo>
                    <a:pt x="143741" y="46899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C1F8D94-95E0-474E-AEF9-65E66A67D237}"/>
                </a:ext>
              </a:extLst>
            </p:cNvPr>
            <p:cNvSpPr/>
            <p:nvPr/>
          </p:nvSpPr>
          <p:spPr>
            <a:xfrm>
              <a:off x="1447690" y="5547551"/>
              <a:ext cx="91296" cy="90271"/>
            </a:xfrm>
            <a:custGeom>
              <a:avLst/>
              <a:gdLst>
                <a:gd name="connsiteX0" fmla="*/ 91266 w 91296"/>
                <a:gd name="connsiteY0" fmla="*/ 0 h 90271"/>
                <a:gd name="connsiteX1" fmla="*/ 89970 w 91296"/>
                <a:gd name="connsiteY1" fmla="*/ 1597 h 90271"/>
                <a:gd name="connsiteX2" fmla="*/ 2261 w 91296"/>
                <a:gd name="connsiteY2" fmla="*/ 89307 h 90271"/>
                <a:gd name="connsiteX3" fmla="*/ 1145 w 91296"/>
                <a:gd name="connsiteY3" fmla="*/ 90271 h 90271"/>
                <a:gd name="connsiteX4" fmla="*/ 0 w 91296"/>
                <a:gd name="connsiteY4" fmla="*/ 89608 h 90271"/>
                <a:gd name="connsiteX5" fmla="*/ 0 w 91296"/>
                <a:gd name="connsiteY5" fmla="*/ 45091 h 90271"/>
                <a:gd name="connsiteX6" fmla="*/ 965 w 91296"/>
                <a:gd name="connsiteY6" fmla="*/ 43885 h 90271"/>
                <a:gd name="connsiteX7" fmla="*/ 40117 w 91296"/>
                <a:gd name="connsiteY7" fmla="*/ 4551 h 90271"/>
                <a:gd name="connsiteX8" fmla="*/ 44397 w 91296"/>
                <a:gd name="connsiteY8" fmla="*/ 0 h 90271"/>
                <a:gd name="connsiteX9" fmla="*/ 91296 w 91296"/>
                <a:gd name="connsiteY9" fmla="*/ 0 h 9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96" h="90271">
                  <a:moveTo>
                    <a:pt x="91266" y="0"/>
                  </a:moveTo>
                  <a:cubicBezTo>
                    <a:pt x="90844" y="543"/>
                    <a:pt x="90452" y="1115"/>
                    <a:pt x="89970" y="1597"/>
                  </a:cubicBezTo>
                  <a:cubicBezTo>
                    <a:pt x="60734" y="30834"/>
                    <a:pt x="31497" y="60070"/>
                    <a:pt x="2261" y="89307"/>
                  </a:cubicBezTo>
                  <a:cubicBezTo>
                    <a:pt x="1899" y="89669"/>
                    <a:pt x="1507" y="89940"/>
                    <a:pt x="1145" y="90271"/>
                  </a:cubicBezTo>
                  <a:cubicBezTo>
                    <a:pt x="754" y="90060"/>
                    <a:pt x="392" y="89819"/>
                    <a:pt x="0" y="89608"/>
                  </a:cubicBezTo>
                  <a:cubicBezTo>
                    <a:pt x="0" y="74779"/>
                    <a:pt x="0" y="59920"/>
                    <a:pt x="0" y="45091"/>
                  </a:cubicBezTo>
                  <a:cubicBezTo>
                    <a:pt x="332" y="44699"/>
                    <a:pt x="633" y="44277"/>
                    <a:pt x="965" y="43885"/>
                  </a:cubicBezTo>
                  <a:cubicBezTo>
                    <a:pt x="14015" y="30774"/>
                    <a:pt x="27066" y="17662"/>
                    <a:pt x="40117" y="4551"/>
                  </a:cubicBezTo>
                  <a:cubicBezTo>
                    <a:pt x="41594" y="3074"/>
                    <a:pt x="42981" y="1507"/>
                    <a:pt x="44397" y="0"/>
                  </a:cubicBezTo>
                  <a:cubicBezTo>
                    <a:pt x="60040" y="0"/>
                    <a:pt x="75683" y="0"/>
                    <a:pt x="9129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AB0292F-ED53-4892-A455-7FC9DFE60C85}"/>
                </a:ext>
              </a:extLst>
            </p:cNvPr>
            <p:cNvSpPr/>
            <p:nvPr/>
          </p:nvSpPr>
          <p:spPr>
            <a:xfrm>
              <a:off x="1719831" y="5819963"/>
              <a:ext cx="51842" cy="51721"/>
            </a:xfrm>
            <a:custGeom>
              <a:avLst/>
              <a:gdLst>
                <a:gd name="connsiteX0" fmla="*/ 51842 w 51842"/>
                <a:gd name="connsiteY0" fmla="*/ 51721 h 51721"/>
                <a:gd name="connsiteX1" fmla="*/ 0 w 51842"/>
                <a:gd name="connsiteY1" fmla="*/ 51721 h 51721"/>
                <a:gd name="connsiteX2" fmla="*/ 1386 w 51842"/>
                <a:gd name="connsiteY2" fmla="*/ 50154 h 51721"/>
                <a:gd name="connsiteX3" fmla="*/ 50456 w 51842"/>
                <a:gd name="connsiteY3" fmla="*/ 1085 h 51721"/>
                <a:gd name="connsiteX4" fmla="*/ 51842 w 51842"/>
                <a:gd name="connsiteY4" fmla="*/ 0 h 51721"/>
                <a:gd name="connsiteX5" fmla="*/ 51842 w 51842"/>
                <a:gd name="connsiteY5" fmla="*/ 51721 h 5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42" h="51721">
                  <a:moveTo>
                    <a:pt x="51842" y="51721"/>
                  </a:moveTo>
                  <a:lnTo>
                    <a:pt x="0" y="51721"/>
                  </a:lnTo>
                  <a:cubicBezTo>
                    <a:pt x="663" y="50968"/>
                    <a:pt x="995" y="50546"/>
                    <a:pt x="1386" y="50154"/>
                  </a:cubicBezTo>
                  <a:cubicBezTo>
                    <a:pt x="17753" y="33788"/>
                    <a:pt x="34089" y="17421"/>
                    <a:pt x="50456" y="1085"/>
                  </a:cubicBezTo>
                  <a:cubicBezTo>
                    <a:pt x="50878" y="663"/>
                    <a:pt x="51360" y="362"/>
                    <a:pt x="51842" y="0"/>
                  </a:cubicBezTo>
                  <a:lnTo>
                    <a:pt x="51842" y="5172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19D86E2-13DF-441F-8B12-1EAAF52E5E01}"/>
              </a:ext>
            </a:extLst>
          </p:cNvPr>
          <p:cNvSpPr/>
          <p:nvPr userDrawn="1"/>
        </p:nvSpPr>
        <p:spPr>
          <a:xfrm>
            <a:off x="10511218" y="1983900"/>
            <a:ext cx="323560" cy="324796"/>
          </a:xfrm>
          <a:custGeom>
            <a:avLst/>
            <a:gdLst>
              <a:gd name="connsiteX0" fmla="*/ 323561 w 323560"/>
              <a:gd name="connsiteY0" fmla="*/ 320848 h 324796"/>
              <a:gd name="connsiteX1" fmla="*/ 323531 w 323560"/>
              <a:gd name="connsiteY1" fmla="*/ 320336 h 324796"/>
              <a:gd name="connsiteX2" fmla="*/ 323531 w 323560"/>
              <a:gd name="connsiteY2" fmla="*/ 0 h 324796"/>
              <a:gd name="connsiteX3" fmla="*/ 0 w 323560"/>
              <a:gd name="connsiteY3" fmla="*/ 0 h 324796"/>
              <a:gd name="connsiteX4" fmla="*/ 0 w 323560"/>
              <a:gd name="connsiteY4" fmla="*/ 3104 h 324796"/>
              <a:gd name="connsiteX5" fmla="*/ 181 w 323560"/>
              <a:gd name="connsiteY5" fmla="*/ 4370 h 324796"/>
              <a:gd name="connsiteX6" fmla="*/ 3979 w 323560"/>
              <a:gd name="connsiteY6" fmla="*/ 50817 h 324796"/>
              <a:gd name="connsiteX7" fmla="*/ 12900 w 323560"/>
              <a:gd name="connsiteY7" fmla="*/ 91537 h 324796"/>
              <a:gd name="connsiteX8" fmla="*/ 30141 w 323560"/>
              <a:gd name="connsiteY8" fmla="*/ 138225 h 324796"/>
              <a:gd name="connsiteX9" fmla="*/ 43945 w 323560"/>
              <a:gd name="connsiteY9" fmla="*/ 164538 h 324796"/>
              <a:gd name="connsiteX10" fmla="*/ 86444 w 323560"/>
              <a:gd name="connsiteY10" fmla="*/ 222197 h 324796"/>
              <a:gd name="connsiteX11" fmla="*/ 130509 w 323560"/>
              <a:gd name="connsiteY11" fmla="*/ 261923 h 324796"/>
              <a:gd name="connsiteX12" fmla="*/ 166196 w 323560"/>
              <a:gd name="connsiteY12" fmla="*/ 285372 h 324796"/>
              <a:gd name="connsiteX13" fmla="*/ 219515 w 323560"/>
              <a:gd name="connsiteY13" fmla="*/ 309726 h 324796"/>
              <a:gd name="connsiteX14" fmla="*/ 284890 w 323560"/>
              <a:gd name="connsiteY14" fmla="*/ 324766 h 324796"/>
              <a:gd name="connsiteX15" fmla="*/ 285252 w 323560"/>
              <a:gd name="connsiteY15" fmla="*/ 324796 h 324796"/>
              <a:gd name="connsiteX16" fmla="*/ 323531 w 323560"/>
              <a:gd name="connsiteY16" fmla="*/ 324796 h 324796"/>
              <a:gd name="connsiteX17" fmla="*/ 323531 w 323560"/>
              <a:gd name="connsiteY17" fmla="*/ 320818 h 32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3560" h="324796">
                <a:moveTo>
                  <a:pt x="323561" y="320848"/>
                </a:moveTo>
                <a:cubicBezTo>
                  <a:pt x="323561" y="320667"/>
                  <a:pt x="323531" y="320516"/>
                  <a:pt x="323531" y="320336"/>
                </a:cubicBezTo>
                <a:cubicBezTo>
                  <a:pt x="323531" y="307466"/>
                  <a:pt x="323531" y="14076"/>
                  <a:pt x="323531" y="0"/>
                </a:cubicBezTo>
                <a:lnTo>
                  <a:pt x="0" y="0"/>
                </a:lnTo>
                <a:lnTo>
                  <a:pt x="0" y="3104"/>
                </a:lnTo>
                <a:cubicBezTo>
                  <a:pt x="90" y="3466"/>
                  <a:pt x="151" y="3888"/>
                  <a:pt x="181" y="4370"/>
                </a:cubicBezTo>
                <a:cubicBezTo>
                  <a:pt x="1296" y="19863"/>
                  <a:pt x="1778" y="35476"/>
                  <a:pt x="3979" y="50817"/>
                </a:cubicBezTo>
                <a:cubicBezTo>
                  <a:pt x="5938" y="64531"/>
                  <a:pt x="9524" y="78064"/>
                  <a:pt x="12900" y="91537"/>
                </a:cubicBezTo>
                <a:cubicBezTo>
                  <a:pt x="16969" y="107693"/>
                  <a:pt x="23178" y="123125"/>
                  <a:pt x="30141" y="138225"/>
                </a:cubicBezTo>
                <a:cubicBezTo>
                  <a:pt x="34270" y="147207"/>
                  <a:pt x="39093" y="155918"/>
                  <a:pt x="43945" y="164538"/>
                </a:cubicBezTo>
                <a:cubicBezTo>
                  <a:pt x="55760" y="185456"/>
                  <a:pt x="70137" y="204505"/>
                  <a:pt x="86444" y="222197"/>
                </a:cubicBezTo>
                <a:cubicBezTo>
                  <a:pt x="99917" y="236846"/>
                  <a:pt x="114263" y="250469"/>
                  <a:pt x="130509" y="261923"/>
                </a:cubicBezTo>
                <a:cubicBezTo>
                  <a:pt x="142144" y="270121"/>
                  <a:pt x="154079" y="277898"/>
                  <a:pt x="166196" y="285372"/>
                </a:cubicBezTo>
                <a:cubicBezTo>
                  <a:pt x="182924" y="295711"/>
                  <a:pt x="200978" y="303336"/>
                  <a:pt x="219515" y="309726"/>
                </a:cubicBezTo>
                <a:cubicBezTo>
                  <a:pt x="240764" y="317020"/>
                  <a:pt x="262496" y="322415"/>
                  <a:pt x="284890" y="324766"/>
                </a:cubicBezTo>
                <a:cubicBezTo>
                  <a:pt x="285011" y="324766"/>
                  <a:pt x="285131" y="324766"/>
                  <a:pt x="285252" y="324796"/>
                </a:cubicBezTo>
                <a:lnTo>
                  <a:pt x="323531" y="324796"/>
                </a:lnTo>
                <a:lnTo>
                  <a:pt x="323531" y="32081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3F0B6EB-8FD0-4262-81D6-32EFE0E6DDC6}"/>
              </a:ext>
            </a:extLst>
          </p:cNvPr>
          <p:cNvSpPr/>
          <p:nvPr userDrawn="1"/>
        </p:nvSpPr>
        <p:spPr>
          <a:xfrm rot="2700000">
            <a:off x="10561131" y="4573338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6118FF8-D740-42D3-8ED5-E1725B42B97A}"/>
              </a:ext>
            </a:extLst>
          </p:cNvPr>
          <p:cNvGrpSpPr/>
          <p:nvPr userDrawn="1"/>
        </p:nvGrpSpPr>
        <p:grpSpPr>
          <a:xfrm>
            <a:off x="551942" y="657151"/>
            <a:ext cx="426764" cy="426924"/>
            <a:chOff x="551942" y="657151"/>
            <a:chExt cx="426764" cy="426924"/>
          </a:xfrm>
          <a:solidFill>
            <a:srgbClr val="FFC900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17FA3D-B12E-4299-922B-FC5E761E5319}"/>
                </a:ext>
              </a:extLst>
            </p:cNvPr>
            <p:cNvSpPr/>
            <p:nvPr/>
          </p:nvSpPr>
          <p:spPr>
            <a:xfrm>
              <a:off x="551982" y="657151"/>
              <a:ext cx="426724" cy="426923"/>
            </a:xfrm>
            <a:custGeom>
              <a:avLst/>
              <a:gdLst>
                <a:gd name="connsiteX0" fmla="*/ 426685 w 426724"/>
                <a:gd name="connsiteY0" fmla="*/ 56997 h 426923"/>
                <a:gd name="connsiteX1" fmla="*/ 423470 w 426724"/>
                <a:gd name="connsiteY1" fmla="*/ 59855 h 426923"/>
                <a:gd name="connsiteX2" fmla="*/ 59458 w 426724"/>
                <a:gd name="connsiteY2" fmla="*/ 423946 h 426923"/>
                <a:gd name="connsiteX3" fmla="*/ 52274 w 426724"/>
                <a:gd name="connsiteY3" fmla="*/ 426923 h 426923"/>
                <a:gd name="connsiteX4" fmla="*/ 4406 w 426724"/>
                <a:gd name="connsiteY4" fmla="*/ 426843 h 426923"/>
                <a:gd name="connsiteX5" fmla="*/ 0 w 426724"/>
                <a:gd name="connsiteY5" fmla="*/ 426843 h 426923"/>
                <a:gd name="connsiteX6" fmla="*/ 0 w 426724"/>
                <a:gd name="connsiteY6" fmla="*/ 422120 h 426923"/>
                <a:gd name="connsiteX7" fmla="*/ 1310 w 426724"/>
                <a:gd name="connsiteY7" fmla="*/ 420453 h 426923"/>
                <a:gd name="connsiteX8" fmla="*/ 4247 w 426724"/>
                <a:gd name="connsiteY8" fmla="*/ 417278 h 426923"/>
                <a:gd name="connsiteX9" fmla="*/ 418310 w 426724"/>
                <a:gd name="connsiteY9" fmla="*/ 3215 h 426923"/>
                <a:gd name="connsiteX10" fmla="*/ 421167 w 426724"/>
                <a:gd name="connsiteY10" fmla="*/ 0 h 426923"/>
                <a:gd name="connsiteX11" fmla="*/ 426724 w 426724"/>
                <a:gd name="connsiteY11" fmla="*/ 0 h 426923"/>
                <a:gd name="connsiteX12" fmla="*/ 426724 w 426724"/>
                <a:gd name="connsiteY12" fmla="*/ 57037 h 4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724" h="426923">
                  <a:moveTo>
                    <a:pt x="426685" y="56997"/>
                  </a:moveTo>
                  <a:cubicBezTo>
                    <a:pt x="425613" y="57950"/>
                    <a:pt x="424501" y="58823"/>
                    <a:pt x="423470" y="59855"/>
                  </a:cubicBezTo>
                  <a:cubicBezTo>
                    <a:pt x="302093" y="181192"/>
                    <a:pt x="180755" y="302529"/>
                    <a:pt x="59458" y="423946"/>
                  </a:cubicBezTo>
                  <a:cubicBezTo>
                    <a:pt x="57315" y="426089"/>
                    <a:pt x="55251" y="426962"/>
                    <a:pt x="52274" y="426923"/>
                  </a:cubicBezTo>
                  <a:cubicBezTo>
                    <a:pt x="36318" y="426804"/>
                    <a:pt x="20362" y="426843"/>
                    <a:pt x="4406" y="426843"/>
                  </a:cubicBezTo>
                  <a:lnTo>
                    <a:pt x="0" y="426843"/>
                  </a:lnTo>
                  <a:cubicBezTo>
                    <a:pt x="0" y="424978"/>
                    <a:pt x="0" y="423549"/>
                    <a:pt x="0" y="422120"/>
                  </a:cubicBezTo>
                  <a:cubicBezTo>
                    <a:pt x="437" y="421564"/>
                    <a:pt x="873" y="421009"/>
                    <a:pt x="1310" y="420453"/>
                  </a:cubicBezTo>
                  <a:cubicBezTo>
                    <a:pt x="2302" y="419381"/>
                    <a:pt x="3215" y="418310"/>
                    <a:pt x="4247" y="417278"/>
                  </a:cubicBezTo>
                  <a:cubicBezTo>
                    <a:pt x="142255" y="279270"/>
                    <a:pt x="280302" y="141223"/>
                    <a:pt x="418310" y="3215"/>
                  </a:cubicBezTo>
                  <a:cubicBezTo>
                    <a:pt x="419302" y="2223"/>
                    <a:pt x="420215" y="1072"/>
                    <a:pt x="421167" y="0"/>
                  </a:cubicBezTo>
                  <a:cubicBezTo>
                    <a:pt x="423033" y="0"/>
                    <a:pt x="424859" y="0"/>
                    <a:pt x="426724" y="0"/>
                  </a:cubicBezTo>
                  <a:lnTo>
                    <a:pt x="426724" y="57037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1AB6389-BBB1-4503-B9AF-8767BE22C8D5}"/>
                </a:ext>
              </a:extLst>
            </p:cNvPr>
            <p:cNvSpPr/>
            <p:nvPr/>
          </p:nvSpPr>
          <p:spPr>
            <a:xfrm>
              <a:off x="551982" y="657151"/>
              <a:ext cx="361749" cy="361153"/>
            </a:xfrm>
            <a:custGeom>
              <a:avLst/>
              <a:gdLst>
                <a:gd name="connsiteX0" fmla="*/ 361749 w 361749"/>
                <a:gd name="connsiteY0" fmla="*/ 0 h 361153"/>
                <a:gd name="connsiteX1" fmla="*/ 359209 w 361749"/>
                <a:gd name="connsiteY1" fmla="*/ 2937 h 361153"/>
                <a:gd name="connsiteX2" fmla="*/ 3890 w 361749"/>
                <a:gd name="connsiteY2" fmla="*/ 358256 h 361153"/>
                <a:gd name="connsiteX3" fmla="*/ 675 w 361749"/>
                <a:gd name="connsiteY3" fmla="*/ 361154 h 361153"/>
                <a:gd name="connsiteX4" fmla="*/ 0 w 361749"/>
                <a:gd name="connsiteY4" fmla="*/ 361114 h 361153"/>
                <a:gd name="connsiteX5" fmla="*/ 0 w 361749"/>
                <a:gd name="connsiteY5" fmla="*/ 300981 h 361153"/>
                <a:gd name="connsiteX6" fmla="*/ 1429 w 361749"/>
                <a:gd name="connsiteY6" fmla="*/ 299473 h 361153"/>
                <a:gd name="connsiteX7" fmla="*/ 3771 w 361749"/>
                <a:gd name="connsiteY7" fmla="*/ 297409 h 361153"/>
                <a:gd name="connsiteX8" fmla="*/ 298481 w 361749"/>
                <a:gd name="connsiteY8" fmla="*/ 2699 h 361153"/>
                <a:gd name="connsiteX9" fmla="*/ 300743 w 361749"/>
                <a:gd name="connsiteY9" fmla="*/ 40 h 361153"/>
                <a:gd name="connsiteX10" fmla="*/ 361709 w 361749"/>
                <a:gd name="connsiteY10" fmla="*/ 40 h 3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749" h="361153">
                  <a:moveTo>
                    <a:pt x="361749" y="0"/>
                  </a:moveTo>
                  <a:cubicBezTo>
                    <a:pt x="360916" y="992"/>
                    <a:pt x="360122" y="2024"/>
                    <a:pt x="359209" y="2937"/>
                  </a:cubicBezTo>
                  <a:cubicBezTo>
                    <a:pt x="240769" y="121377"/>
                    <a:pt x="122329" y="239817"/>
                    <a:pt x="3890" y="358256"/>
                  </a:cubicBezTo>
                  <a:cubicBezTo>
                    <a:pt x="2858" y="359288"/>
                    <a:pt x="1746" y="360201"/>
                    <a:pt x="675" y="361154"/>
                  </a:cubicBezTo>
                  <a:cubicBezTo>
                    <a:pt x="437" y="361154"/>
                    <a:pt x="238" y="361154"/>
                    <a:pt x="0" y="361114"/>
                  </a:cubicBezTo>
                  <a:cubicBezTo>
                    <a:pt x="0" y="341070"/>
                    <a:pt x="0" y="321026"/>
                    <a:pt x="0" y="300981"/>
                  </a:cubicBezTo>
                  <a:cubicBezTo>
                    <a:pt x="476" y="300465"/>
                    <a:pt x="953" y="299989"/>
                    <a:pt x="1429" y="299473"/>
                  </a:cubicBezTo>
                  <a:cubicBezTo>
                    <a:pt x="2223" y="298798"/>
                    <a:pt x="3056" y="298124"/>
                    <a:pt x="3771" y="297409"/>
                  </a:cubicBezTo>
                  <a:cubicBezTo>
                    <a:pt x="102007" y="199172"/>
                    <a:pt x="200244" y="100936"/>
                    <a:pt x="298481" y="2699"/>
                  </a:cubicBezTo>
                  <a:cubicBezTo>
                    <a:pt x="299314" y="1866"/>
                    <a:pt x="299989" y="913"/>
                    <a:pt x="300743" y="40"/>
                  </a:cubicBezTo>
                  <a:cubicBezTo>
                    <a:pt x="321065" y="40"/>
                    <a:pt x="341387" y="40"/>
                    <a:pt x="361709" y="4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0571F70-CE4E-43A1-9611-094ECFA41A3F}"/>
                </a:ext>
              </a:extLst>
            </p:cNvPr>
            <p:cNvSpPr/>
            <p:nvPr/>
          </p:nvSpPr>
          <p:spPr>
            <a:xfrm>
              <a:off x="668198" y="773567"/>
              <a:ext cx="310467" cy="310508"/>
            </a:xfrm>
            <a:custGeom>
              <a:avLst/>
              <a:gdLst>
                <a:gd name="connsiteX0" fmla="*/ 310468 w 310467"/>
                <a:gd name="connsiteY0" fmla="*/ 61760 h 310508"/>
                <a:gd name="connsiteX1" fmla="*/ 307253 w 310467"/>
                <a:gd name="connsiteY1" fmla="*/ 64618 h 310508"/>
                <a:gd name="connsiteX2" fmla="*/ 64658 w 310467"/>
                <a:gd name="connsiteY2" fmla="*/ 307332 h 310508"/>
                <a:gd name="connsiteX3" fmla="*/ 56759 w 310467"/>
                <a:gd name="connsiteY3" fmla="*/ 310507 h 310508"/>
                <a:gd name="connsiteX4" fmla="*/ 0 w 310467"/>
                <a:gd name="connsiteY4" fmla="*/ 310428 h 310508"/>
                <a:gd name="connsiteX5" fmla="*/ 2461 w 310467"/>
                <a:gd name="connsiteY5" fmla="*/ 307610 h 310508"/>
                <a:gd name="connsiteX6" fmla="*/ 308086 w 310467"/>
                <a:gd name="connsiteY6" fmla="*/ 1985 h 310508"/>
                <a:gd name="connsiteX7" fmla="*/ 310468 w 310467"/>
                <a:gd name="connsiteY7" fmla="*/ 0 h 310508"/>
                <a:gd name="connsiteX8" fmla="*/ 310468 w 310467"/>
                <a:gd name="connsiteY8" fmla="*/ 61760 h 3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0467" h="310508">
                  <a:moveTo>
                    <a:pt x="310468" y="61760"/>
                  </a:moveTo>
                  <a:cubicBezTo>
                    <a:pt x="309396" y="62713"/>
                    <a:pt x="308285" y="63586"/>
                    <a:pt x="307253" y="64618"/>
                  </a:cubicBezTo>
                  <a:cubicBezTo>
                    <a:pt x="226361" y="145509"/>
                    <a:pt x="145470" y="226361"/>
                    <a:pt x="64658" y="307332"/>
                  </a:cubicBezTo>
                  <a:cubicBezTo>
                    <a:pt x="62276" y="309713"/>
                    <a:pt x="59974" y="310547"/>
                    <a:pt x="56759" y="310507"/>
                  </a:cubicBezTo>
                  <a:cubicBezTo>
                    <a:pt x="38025" y="310388"/>
                    <a:pt x="19330" y="310428"/>
                    <a:pt x="0" y="310428"/>
                  </a:cubicBezTo>
                  <a:cubicBezTo>
                    <a:pt x="1032" y="309237"/>
                    <a:pt x="1707" y="308364"/>
                    <a:pt x="2461" y="307610"/>
                  </a:cubicBezTo>
                  <a:cubicBezTo>
                    <a:pt x="104349" y="205721"/>
                    <a:pt x="206198" y="103873"/>
                    <a:pt x="308086" y="1985"/>
                  </a:cubicBezTo>
                  <a:cubicBezTo>
                    <a:pt x="308801" y="1270"/>
                    <a:pt x="309674" y="635"/>
                    <a:pt x="310468" y="0"/>
                  </a:cubicBezTo>
                  <a:lnTo>
                    <a:pt x="310468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F77F213-B442-4A9F-9999-4F294722CD66}"/>
                </a:ext>
              </a:extLst>
            </p:cNvPr>
            <p:cNvSpPr/>
            <p:nvPr/>
          </p:nvSpPr>
          <p:spPr>
            <a:xfrm>
              <a:off x="551942" y="657151"/>
              <a:ext cx="241404" cy="240054"/>
            </a:xfrm>
            <a:custGeom>
              <a:avLst/>
              <a:gdLst>
                <a:gd name="connsiteX0" fmla="*/ 241404 w 241404"/>
                <a:gd name="connsiteY0" fmla="*/ 0 h 240054"/>
                <a:gd name="connsiteX1" fmla="*/ 239420 w 241404"/>
                <a:gd name="connsiteY1" fmla="*/ 2382 h 240054"/>
                <a:gd name="connsiteX2" fmla="*/ 3572 w 241404"/>
                <a:gd name="connsiteY2" fmla="*/ 238229 h 240054"/>
                <a:gd name="connsiteX3" fmla="*/ 1508 w 241404"/>
                <a:gd name="connsiteY3" fmla="*/ 240055 h 240054"/>
                <a:gd name="connsiteX4" fmla="*/ 0 w 241404"/>
                <a:gd name="connsiteY4" fmla="*/ 239181 h 240054"/>
                <a:gd name="connsiteX5" fmla="*/ 0 w 241404"/>
                <a:gd name="connsiteY5" fmla="*/ 181351 h 240054"/>
                <a:gd name="connsiteX6" fmla="*/ 595 w 241404"/>
                <a:gd name="connsiteY6" fmla="*/ 179724 h 240054"/>
                <a:gd name="connsiteX7" fmla="*/ 1469 w 241404"/>
                <a:gd name="connsiteY7" fmla="*/ 178295 h 240054"/>
                <a:gd name="connsiteX8" fmla="*/ 3533 w 241404"/>
                <a:gd name="connsiteY8" fmla="*/ 176509 h 240054"/>
                <a:gd name="connsiteX9" fmla="*/ 177620 w 241404"/>
                <a:gd name="connsiteY9" fmla="*/ 2382 h 240054"/>
                <a:gd name="connsiteX10" fmla="*/ 179604 w 241404"/>
                <a:gd name="connsiteY10" fmla="*/ 0 h 240054"/>
                <a:gd name="connsiteX11" fmla="*/ 241365 w 241404"/>
                <a:gd name="connsiteY11" fmla="*/ 0 h 24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404" h="240054">
                  <a:moveTo>
                    <a:pt x="241404" y="0"/>
                  </a:moveTo>
                  <a:cubicBezTo>
                    <a:pt x="240729" y="794"/>
                    <a:pt x="240134" y="1667"/>
                    <a:pt x="239420" y="2382"/>
                  </a:cubicBezTo>
                  <a:cubicBezTo>
                    <a:pt x="160830" y="81011"/>
                    <a:pt x="82201" y="159640"/>
                    <a:pt x="3572" y="238229"/>
                  </a:cubicBezTo>
                  <a:cubicBezTo>
                    <a:pt x="2937" y="238864"/>
                    <a:pt x="2183" y="239420"/>
                    <a:pt x="1508" y="240055"/>
                  </a:cubicBezTo>
                  <a:cubicBezTo>
                    <a:pt x="992" y="239777"/>
                    <a:pt x="516" y="239459"/>
                    <a:pt x="0" y="239181"/>
                  </a:cubicBezTo>
                  <a:cubicBezTo>
                    <a:pt x="0" y="219891"/>
                    <a:pt x="0" y="200641"/>
                    <a:pt x="0" y="181351"/>
                  </a:cubicBezTo>
                  <a:cubicBezTo>
                    <a:pt x="198" y="180795"/>
                    <a:pt x="397" y="180279"/>
                    <a:pt x="595" y="179724"/>
                  </a:cubicBezTo>
                  <a:cubicBezTo>
                    <a:pt x="873" y="179247"/>
                    <a:pt x="1151" y="178771"/>
                    <a:pt x="1469" y="178295"/>
                  </a:cubicBezTo>
                  <a:cubicBezTo>
                    <a:pt x="2143" y="177699"/>
                    <a:pt x="2897" y="177144"/>
                    <a:pt x="3533" y="176509"/>
                  </a:cubicBezTo>
                  <a:cubicBezTo>
                    <a:pt x="61562" y="118479"/>
                    <a:pt x="119591" y="60450"/>
                    <a:pt x="177620" y="2382"/>
                  </a:cubicBezTo>
                  <a:cubicBezTo>
                    <a:pt x="178334" y="1667"/>
                    <a:pt x="178969" y="794"/>
                    <a:pt x="179604" y="0"/>
                  </a:cubicBezTo>
                  <a:cubicBezTo>
                    <a:pt x="200204" y="0"/>
                    <a:pt x="220804" y="0"/>
                    <a:pt x="241365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223A153-E0AE-4936-8031-57457DEAF716}"/>
                </a:ext>
              </a:extLst>
            </p:cNvPr>
            <p:cNvSpPr/>
            <p:nvPr/>
          </p:nvSpPr>
          <p:spPr>
            <a:xfrm>
              <a:off x="789377" y="894745"/>
              <a:ext cx="189289" cy="189290"/>
            </a:xfrm>
            <a:custGeom>
              <a:avLst/>
              <a:gdLst>
                <a:gd name="connsiteX0" fmla="*/ 189289 w 189289"/>
                <a:gd name="connsiteY0" fmla="*/ 61760 h 189290"/>
                <a:gd name="connsiteX1" fmla="*/ 186074 w 189289"/>
                <a:gd name="connsiteY1" fmla="*/ 64618 h 189290"/>
                <a:gd name="connsiteX2" fmla="*/ 64380 w 189289"/>
                <a:gd name="connsiteY2" fmla="*/ 186392 h 189290"/>
                <a:gd name="connsiteX3" fmla="*/ 57156 w 189289"/>
                <a:gd name="connsiteY3" fmla="*/ 189289 h 189290"/>
                <a:gd name="connsiteX4" fmla="*/ 0 w 189289"/>
                <a:gd name="connsiteY4" fmla="*/ 189249 h 189290"/>
                <a:gd name="connsiteX5" fmla="*/ 1905 w 189289"/>
                <a:gd name="connsiteY5" fmla="*/ 186987 h 189290"/>
                <a:gd name="connsiteX6" fmla="*/ 187463 w 189289"/>
                <a:gd name="connsiteY6" fmla="*/ 1429 h 189290"/>
                <a:gd name="connsiteX7" fmla="*/ 189289 w 189289"/>
                <a:gd name="connsiteY7" fmla="*/ 0 h 189290"/>
                <a:gd name="connsiteX8" fmla="*/ 189289 w 189289"/>
                <a:gd name="connsiteY8" fmla="*/ 61760 h 18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289" h="189290">
                  <a:moveTo>
                    <a:pt x="189289" y="61760"/>
                  </a:moveTo>
                  <a:cubicBezTo>
                    <a:pt x="188217" y="62713"/>
                    <a:pt x="187106" y="63586"/>
                    <a:pt x="186074" y="64618"/>
                  </a:cubicBezTo>
                  <a:cubicBezTo>
                    <a:pt x="145470" y="105183"/>
                    <a:pt x="104865" y="145748"/>
                    <a:pt x="64380" y="186392"/>
                  </a:cubicBezTo>
                  <a:cubicBezTo>
                    <a:pt x="62236" y="188535"/>
                    <a:pt x="60133" y="189329"/>
                    <a:pt x="57156" y="189289"/>
                  </a:cubicBezTo>
                  <a:cubicBezTo>
                    <a:pt x="38302" y="189170"/>
                    <a:pt x="19449" y="189249"/>
                    <a:pt x="0" y="189249"/>
                  </a:cubicBezTo>
                  <a:cubicBezTo>
                    <a:pt x="834" y="188257"/>
                    <a:pt x="1310" y="187543"/>
                    <a:pt x="1905" y="186987"/>
                  </a:cubicBezTo>
                  <a:cubicBezTo>
                    <a:pt x="63745" y="125108"/>
                    <a:pt x="125624" y="63268"/>
                    <a:pt x="187463" y="1429"/>
                  </a:cubicBezTo>
                  <a:cubicBezTo>
                    <a:pt x="188019" y="873"/>
                    <a:pt x="188694" y="476"/>
                    <a:pt x="189289" y="0"/>
                  </a:cubicBezTo>
                  <a:lnTo>
                    <a:pt x="189289" y="61760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686D511-B111-4D64-8011-FAD0F352F5A2}"/>
                </a:ext>
              </a:extLst>
            </p:cNvPr>
            <p:cNvSpPr/>
            <p:nvPr/>
          </p:nvSpPr>
          <p:spPr>
            <a:xfrm>
              <a:off x="552022" y="657151"/>
              <a:ext cx="120225" cy="118876"/>
            </a:xfrm>
            <a:custGeom>
              <a:avLst/>
              <a:gdLst>
                <a:gd name="connsiteX0" fmla="*/ 120186 w 120225"/>
                <a:gd name="connsiteY0" fmla="*/ 0 h 118876"/>
                <a:gd name="connsiteX1" fmla="*/ 118479 w 120225"/>
                <a:gd name="connsiteY1" fmla="*/ 2104 h 118876"/>
                <a:gd name="connsiteX2" fmla="*/ 2977 w 120225"/>
                <a:gd name="connsiteY2" fmla="*/ 117606 h 118876"/>
                <a:gd name="connsiteX3" fmla="*/ 1508 w 120225"/>
                <a:gd name="connsiteY3" fmla="*/ 118876 h 118876"/>
                <a:gd name="connsiteX4" fmla="*/ 0 w 120225"/>
                <a:gd name="connsiteY4" fmla="*/ 118003 h 118876"/>
                <a:gd name="connsiteX5" fmla="*/ 0 w 120225"/>
                <a:gd name="connsiteY5" fmla="*/ 59379 h 118876"/>
                <a:gd name="connsiteX6" fmla="*/ 1270 w 120225"/>
                <a:gd name="connsiteY6" fmla="*/ 57791 h 118876"/>
                <a:gd name="connsiteX7" fmla="*/ 52829 w 120225"/>
                <a:gd name="connsiteY7" fmla="*/ 5993 h 118876"/>
                <a:gd name="connsiteX8" fmla="*/ 58466 w 120225"/>
                <a:gd name="connsiteY8" fmla="*/ 0 h 118876"/>
                <a:gd name="connsiteX9" fmla="*/ 120226 w 120225"/>
                <a:gd name="connsiteY9" fmla="*/ 0 h 11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25" h="118876">
                  <a:moveTo>
                    <a:pt x="120186" y="0"/>
                  </a:moveTo>
                  <a:cubicBezTo>
                    <a:pt x="119630" y="714"/>
                    <a:pt x="119114" y="1469"/>
                    <a:pt x="118479" y="2104"/>
                  </a:cubicBezTo>
                  <a:cubicBezTo>
                    <a:pt x="79979" y="40605"/>
                    <a:pt x="41478" y="79105"/>
                    <a:pt x="2977" y="117606"/>
                  </a:cubicBezTo>
                  <a:cubicBezTo>
                    <a:pt x="2501" y="118082"/>
                    <a:pt x="1985" y="118440"/>
                    <a:pt x="1508" y="118876"/>
                  </a:cubicBezTo>
                  <a:cubicBezTo>
                    <a:pt x="992" y="118598"/>
                    <a:pt x="516" y="118281"/>
                    <a:pt x="0" y="118003"/>
                  </a:cubicBezTo>
                  <a:cubicBezTo>
                    <a:pt x="0" y="98475"/>
                    <a:pt x="0" y="78907"/>
                    <a:pt x="0" y="59379"/>
                  </a:cubicBezTo>
                  <a:cubicBezTo>
                    <a:pt x="437" y="58863"/>
                    <a:pt x="834" y="58307"/>
                    <a:pt x="1270" y="57791"/>
                  </a:cubicBezTo>
                  <a:cubicBezTo>
                    <a:pt x="18457" y="40525"/>
                    <a:pt x="35643" y="23259"/>
                    <a:pt x="52829" y="5993"/>
                  </a:cubicBezTo>
                  <a:cubicBezTo>
                    <a:pt x="54774" y="4049"/>
                    <a:pt x="56600" y="1985"/>
                    <a:pt x="58466" y="0"/>
                  </a:cubicBezTo>
                  <a:cubicBezTo>
                    <a:pt x="79066" y="0"/>
                    <a:pt x="99666" y="0"/>
                    <a:pt x="120226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FFAF53F-8A76-472E-9FFA-28B0A0D1471E}"/>
                </a:ext>
              </a:extLst>
            </p:cNvPr>
            <p:cNvSpPr/>
            <p:nvPr/>
          </p:nvSpPr>
          <p:spPr>
            <a:xfrm>
              <a:off x="910396" y="1015884"/>
              <a:ext cx="68269" cy="68110"/>
            </a:xfrm>
            <a:custGeom>
              <a:avLst/>
              <a:gdLst>
                <a:gd name="connsiteX0" fmla="*/ 68270 w 68269"/>
                <a:gd name="connsiteY0" fmla="*/ 68111 h 68110"/>
                <a:gd name="connsiteX1" fmla="*/ 0 w 68269"/>
                <a:gd name="connsiteY1" fmla="*/ 68111 h 68110"/>
                <a:gd name="connsiteX2" fmla="*/ 1826 w 68269"/>
                <a:gd name="connsiteY2" fmla="*/ 66047 h 68110"/>
                <a:gd name="connsiteX3" fmla="*/ 66444 w 68269"/>
                <a:gd name="connsiteY3" fmla="*/ 1429 h 68110"/>
                <a:gd name="connsiteX4" fmla="*/ 68270 w 68269"/>
                <a:gd name="connsiteY4" fmla="*/ 0 h 68110"/>
                <a:gd name="connsiteX5" fmla="*/ 68270 w 68269"/>
                <a:gd name="connsiteY5" fmla="*/ 68111 h 6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69" h="68110">
                  <a:moveTo>
                    <a:pt x="68270" y="68111"/>
                  </a:moveTo>
                  <a:lnTo>
                    <a:pt x="0" y="68111"/>
                  </a:lnTo>
                  <a:cubicBezTo>
                    <a:pt x="873" y="67118"/>
                    <a:pt x="1310" y="66563"/>
                    <a:pt x="1826" y="66047"/>
                  </a:cubicBezTo>
                  <a:cubicBezTo>
                    <a:pt x="23378" y="44494"/>
                    <a:pt x="44891" y="22942"/>
                    <a:pt x="66444" y="1429"/>
                  </a:cubicBezTo>
                  <a:cubicBezTo>
                    <a:pt x="66999" y="873"/>
                    <a:pt x="67634" y="476"/>
                    <a:pt x="68270" y="0"/>
                  </a:cubicBezTo>
                  <a:lnTo>
                    <a:pt x="68270" y="6811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3EDA631-E7E6-418D-B41B-6F8EC2ECAB6D}"/>
              </a:ext>
            </a:extLst>
          </p:cNvPr>
          <p:cNvSpPr/>
          <p:nvPr userDrawn="1"/>
        </p:nvSpPr>
        <p:spPr>
          <a:xfrm>
            <a:off x="553013" y="5771266"/>
            <a:ext cx="424620" cy="424620"/>
          </a:xfrm>
          <a:custGeom>
            <a:avLst/>
            <a:gdLst>
              <a:gd name="connsiteX0" fmla="*/ 424621 w 424620"/>
              <a:gd name="connsiteY0" fmla="*/ 0 h 424620"/>
              <a:gd name="connsiteX1" fmla="*/ 0 w 424620"/>
              <a:gd name="connsiteY1" fmla="*/ 0 h 424620"/>
              <a:gd name="connsiteX2" fmla="*/ 0 w 424620"/>
              <a:gd name="connsiteY2" fmla="*/ 424621 h 424620"/>
              <a:gd name="connsiteX3" fmla="*/ 424621 w 424620"/>
              <a:gd name="connsiteY3" fmla="*/ 424621 h 424620"/>
              <a:gd name="connsiteX4" fmla="*/ 424621 w 424620"/>
              <a:gd name="connsiteY4" fmla="*/ 0 h 424620"/>
              <a:gd name="connsiteX5" fmla="*/ 315111 w 424620"/>
              <a:gd name="connsiteY5" fmla="*/ 219614 h 424620"/>
              <a:gd name="connsiteX6" fmla="*/ 257717 w 424620"/>
              <a:gd name="connsiteY6" fmla="*/ 276333 h 424620"/>
              <a:gd name="connsiteX7" fmla="*/ 215684 w 424620"/>
              <a:gd name="connsiteY7" fmla="*/ 318446 h 424620"/>
              <a:gd name="connsiteX8" fmla="*/ 208976 w 424620"/>
              <a:gd name="connsiteY8" fmla="*/ 318604 h 424620"/>
              <a:gd name="connsiteX9" fmla="*/ 183455 w 424620"/>
              <a:gd name="connsiteY9" fmla="*/ 293003 h 424620"/>
              <a:gd name="connsiteX10" fmla="*/ 165038 w 424620"/>
              <a:gd name="connsiteY10" fmla="*/ 275182 h 424620"/>
              <a:gd name="connsiteX11" fmla="*/ 147137 w 424620"/>
              <a:gd name="connsiteY11" fmla="*/ 256844 h 424620"/>
              <a:gd name="connsiteX12" fmla="*/ 128879 w 424620"/>
              <a:gd name="connsiteY12" fmla="*/ 238864 h 424620"/>
              <a:gd name="connsiteX13" fmla="*/ 108715 w 424620"/>
              <a:gd name="connsiteY13" fmla="*/ 218224 h 424620"/>
              <a:gd name="connsiteX14" fmla="*/ 109827 w 424620"/>
              <a:gd name="connsiteY14" fmla="*/ 212509 h 424620"/>
              <a:gd name="connsiteX15" fmla="*/ 156266 w 424620"/>
              <a:gd name="connsiteY15" fmla="*/ 166347 h 424620"/>
              <a:gd name="connsiteX16" fmla="*/ 208738 w 424620"/>
              <a:gd name="connsiteY16" fmla="*/ 113796 h 424620"/>
              <a:gd name="connsiteX17" fmla="*/ 215763 w 424620"/>
              <a:gd name="connsiteY17" fmla="*/ 113677 h 424620"/>
              <a:gd name="connsiteX18" fmla="*/ 237435 w 424620"/>
              <a:gd name="connsiteY18" fmla="*/ 135388 h 424620"/>
              <a:gd name="connsiteX19" fmla="*/ 255852 w 424620"/>
              <a:gd name="connsiteY19" fmla="*/ 153210 h 424620"/>
              <a:gd name="connsiteX20" fmla="*/ 273753 w 424620"/>
              <a:gd name="connsiteY20" fmla="*/ 171547 h 424620"/>
              <a:gd name="connsiteX21" fmla="*/ 292011 w 424620"/>
              <a:gd name="connsiteY21" fmla="*/ 189527 h 424620"/>
              <a:gd name="connsiteX22" fmla="*/ 309872 w 424620"/>
              <a:gd name="connsiteY22" fmla="*/ 207309 h 424620"/>
              <a:gd name="connsiteX23" fmla="*/ 314754 w 424620"/>
              <a:gd name="connsiteY23" fmla="*/ 212112 h 424620"/>
              <a:gd name="connsiteX24" fmla="*/ 317850 w 424620"/>
              <a:gd name="connsiteY24" fmla="*/ 215644 h 424620"/>
              <a:gd name="connsiteX25" fmla="*/ 315151 w 424620"/>
              <a:gd name="connsiteY25" fmla="*/ 219693 h 424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4620" h="424620">
                <a:moveTo>
                  <a:pt x="424621" y="0"/>
                </a:moveTo>
                <a:lnTo>
                  <a:pt x="0" y="0"/>
                </a:lnTo>
                <a:lnTo>
                  <a:pt x="0" y="424621"/>
                </a:lnTo>
                <a:lnTo>
                  <a:pt x="424621" y="424621"/>
                </a:lnTo>
                <a:cubicBezTo>
                  <a:pt x="424621" y="356669"/>
                  <a:pt x="424621" y="68944"/>
                  <a:pt x="424621" y="0"/>
                </a:cubicBezTo>
                <a:close/>
                <a:moveTo>
                  <a:pt x="315111" y="219614"/>
                </a:moveTo>
                <a:cubicBezTo>
                  <a:pt x="296020" y="238546"/>
                  <a:pt x="276809" y="257400"/>
                  <a:pt x="257717" y="276333"/>
                </a:cubicBezTo>
                <a:cubicBezTo>
                  <a:pt x="243627" y="290304"/>
                  <a:pt x="229616" y="304315"/>
                  <a:pt x="215684" y="318446"/>
                </a:cubicBezTo>
                <a:cubicBezTo>
                  <a:pt x="213184" y="320986"/>
                  <a:pt x="211556" y="321264"/>
                  <a:pt x="208976" y="318604"/>
                </a:cubicBezTo>
                <a:cubicBezTo>
                  <a:pt x="200601" y="309952"/>
                  <a:pt x="192028" y="301458"/>
                  <a:pt x="183455" y="293003"/>
                </a:cubicBezTo>
                <a:cubicBezTo>
                  <a:pt x="177382" y="287010"/>
                  <a:pt x="171071" y="281215"/>
                  <a:pt x="165038" y="275182"/>
                </a:cubicBezTo>
                <a:cubicBezTo>
                  <a:pt x="159004" y="269149"/>
                  <a:pt x="153170" y="262877"/>
                  <a:pt x="147137" y="256844"/>
                </a:cubicBezTo>
                <a:cubicBezTo>
                  <a:pt x="141104" y="250771"/>
                  <a:pt x="134912" y="244937"/>
                  <a:pt x="128879" y="238864"/>
                </a:cubicBezTo>
                <a:cubicBezTo>
                  <a:pt x="122091" y="232037"/>
                  <a:pt x="115503" y="225051"/>
                  <a:pt x="108715" y="218224"/>
                </a:cubicBezTo>
                <a:cubicBezTo>
                  <a:pt x="106175" y="215644"/>
                  <a:pt x="108239" y="214096"/>
                  <a:pt x="109827" y="212509"/>
                </a:cubicBezTo>
                <a:cubicBezTo>
                  <a:pt x="125306" y="197108"/>
                  <a:pt x="140826" y="181748"/>
                  <a:pt x="156266" y="166347"/>
                </a:cubicBezTo>
                <a:cubicBezTo>
                  <a:pt x="173809" y="148883"/>
                  <a:pt x="191313" y="131379"/>
                  <a:pt x="208738" y="113796"/>
                </a:cubicBezTo>
                <a:cubicBezTo>
                  <a:pt x="211358" y="111136"/>
                  <a:pt x="213064" y="110859"/>
                  <a:pt x="215763" y="113677"/>
                </a:cubicBezTo>
                <a:cubicBezTo>
                  <a:pt x="222829" y="121059"/>
                  <a:pt x="230132" y="128204"/>
                  <a:pt x="237435" y="135388"/>
                </a:cubicBezTo>
                <a:cubicBezTo>
                  <a:pt x="243508" y="141381"/>
                  <a:pt x="249819" y="147176"/>
                  <a:pt x="255852" y="153210"/>
                </a:cubicBezTo>
                <a:cubicBezTo>
                  <a:pt x="261885" y="159243"/>
                  <a:pt x="267720" y="165514"/>
                  <a:pt x="273753" y="171547"/>
                </a:cubicBezTo>
                <a:cubicBezTo>
                  <a:pt x="279786" y="177620"/>
                  <a:pt x="285938" y="183534"/>
                  <a:pt x="292011" y="189527"/>
                </a:cubicBezTo>
                <a:cubicBezTo>
                  <a:pt x="297965" y="195441"/>
                  <a:pt x="303918" y="201355"/>
                  <a:pt x="309872" y="207309"/>
                </a:cubicBezTo>
                <a:cubicBezTo>
                  <a:pt x="311500" y="208937"/>
                  <a:pt x="313167" y="210484"/>
                  <a:pt x="314754" y="212112"/>
                </a:cubicBezTo>
                <a:cubicBezTo>
                  <a:pt x="315786" y="213184"/>
                  <a:pt x="316699" y="214335"/>
                  <a:pt x="317850" y="215644"/>
                </a:cubicBezTo>
                <a:cubicBezTo>
                  <a:pt x="316818" y="217232"/>
                  <a:pt x="316183" y="218661"/>
                  <a:pt x="315151" y="219693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46F9AB4-FA5E-4931-8112-F9C633F1AB52}"/>
              </a:ext>
            </a:extLst>
          </p:cNvPr>
          <p:cNvSpPr/>
          <p:nvPr userDrawn="1"/>
        </p:nvSpPr>
        <p:spPr>
          <a:xfrm rot="2700000">
            <a:off x="653456" y="3314929"/>
            <a:ext cx="223734" cy="223734"/>
          </a:xfrm>
          <a:custGeom>
            <a:avLst/>
            <a:gdLst>
              <a:gd name="connsiteX0" fmla="*/ 0 w 223734"/>
              <a:gd name="connsiteY0" fmla="*/ 0 h 223734"/>
              <a:gd name="connsiteX1" fmla="*/ 223735 w 223734"/>
              <a:gd name="connsiteY1" fmla="*/ 0 h 223734"/>
              <a:gd name="connsiteX2" fmla="*/ 223735 w 223734"/>
              <a:gd name="connsiteY2" fmla="*/ 223735 h 223734"/>
              <a:gd name="connsiteX3" fmla="*/ 0 w 223734"/>
              <a:gd name="connsiteY3" fmla="*/ 223735 h 22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34" h="223734">
                <a:moveTo>
                  <a:pt x="0" y="0"/>
                </a:moveTo>
                <a:lnTo>
                  <a:pt x="223735" y="0"/>
                </a:lnTo>
                <a:lnTo>
                  <a:pt x="223735" y="223735"/>
                </a:lnTo>
                <a:lnTo>
                  <a:pt x="0" y="223735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5F379D4-1587-4D46-8D26-F3E869977B69}"/>
              </a:ext>
            </a:extLst>
          </p:cNvPr>
          <p:cNvSpPr/>
          <p:nvPr userDrawn="1"/>
        </p:nvSpPr>
        <p:spPr>
          <a:xfrm rot="2700000">
            <a:off x="11277666" y="718171"/>
            <a:ext cx="294630" cy="294630"/>
          </a:xfrm>
          <a:custGeom>
            <a:avLst/>
            <a:gdLst>
              <a:gd name="connsiteX0" fmla="*/ 0 w 294630"/>
              <a:gd name="connsiteY0" fmla="*/ 0 h 294630"/>
              <a:gd name="connsiteX1" fmla="*/ 294631 w 294630"/>
              <a:gd name="connsiteY1" fmla="*/ 0 h 294630"/>
              <a:gd name="connsiteX2" fmla="*/ 294631 w 294630"/>
              <a:gd name="connsiteY2" fmla="*/ 294631 h 294630"/>
              <a:gd name="connsiteX3" fmla="*/ 0 w 294630"/>
              <a:gd name="connsiteY3" fmla="*/ 294631 h 29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30" h="294630">
                <a:moveTo>
                  <a:pt x="0" y="0"/>
                </a:moveTo>
                <a:lnTo>
                  <a:pt x="294631" y="0"/>
                </a:lnTo>
                <a:lnTo>
                  <a:pt x="294631" y="294631"/>
                </a:lnTo>
                <a:lnTo>
                  <a:pt x="0" y="294631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51210D1-F17D-4054-A207-09D72023E384}"/>
              </a:ext>
            </a:extLst>
          </p:cNvPr>
          <p:cNvSpPr/>
          <p:nvPr userDrawn="1"/>
        </p:nvSpPr>
        <p:spPr>
          <a:xfrm>
            <a:off x="11211937" y="5768170"/>
            <a:ext cx="426089" cy="427716"/>
          </a:xfrm>
          <a:custGeom>
            <a:avLst/>
            <a:gdLst>
              <a:gd name="connsiteX0" fmla="*/ 426089 w 426089"/>
              <a:gd name="connsiteY0" fmla="*/ 422517 h 427716"/>
              <a:gd name="connsiteX1" fmla="*/ 426049 w 426089"/>
              <a:gd name="connsiteY1" fmla="*/ 421842 h 427716"/>
              <a:gd name="connsiteX2" fmla="*/ 426049 w 426089"/>
              <a:gd name="connsiteY2" fmla="*/ 0 h 427716"/>
              <a:gd name="connsiteX3" fmla="*/ 0 w 426089"/>
              <a:gd name="connsiteY3" fmla="*/ 0 h 427716"/>
              <a:gd name="connsiteX4" fmla="*/ 0 w 426089"/>
              <a:gd name="connsiteY4" fmla="*/ 4088 h 427716"/>
              <a:gd name="connsiteX5" fmla="*/ 238 w 426089"/>
              <a:gd name="connsiteY5" fmla="*/ 5755 h 427716"/>
              <a:gd name="connsiteX6" fmla="*/ 5239 w 426089"/>
              <a:gd name="connsiteY6" fmla="*/ 66920 h 427716"/>
              <a:gd name="connsiteX7" fmla="*/ 16988 w 426089"/>
              <a:gd name="connsiteY7" fmla="*/ 120543 h 427716"/>
              <a:gd name="connsiteX8" fmla="*/ 39692 w 426089"/>
              <a:gd name="connsiteY8" fmla="*/ 182026 h 427716"/>
              <a:gd name="connsiteX9" fmla="*/ 57870 w 426089"/>
              <a:gd name="connsiteY9" fmla="*/ 216676 h 427716"/>
              <a:gd name="connsiteX10" fmla="*/ 113835 w 426089"/>
              <a:gd name="connsiteY10" fmla="*/ 292606 h 427716"/>
              <a:gd name="connsiteX11" fmla="*/ 171865 w 426089"/>
              <a:gd name="connsiteY11" fmla="*/ 344920 h 427716"/>
              <a:gd name="connsiteX12" fmla="*/ 218859 w 426089"/>
              <a:gd name="connsiteY12" fmla="*/ 375800 h 427716"/>
              <a:gd name="connsiteX13" fmla="*/ 289074 w 426089"/>
              <a:gd name="connsiteY13" fmla="*/ 407871 h 427716"/>
              <a:gd name="connsiteX14" fmla="*/ 375165 w 426089"/>
              <a:gd name="connsiteY14" fmla="*/ 427677 h 427716"/>
              <a:gd name="connsiteX15" fmla="*/ 375641 w 426089"/>
              <a:gd name="connsiteY15" fmla="*/ 427717 h 427716"/>
              <a:gd name="connsiteX16" fmla="*/ 426049 w 426089"/>
              <a:gd name="connsiteY16" fmla="*/ 427717 h 427716"/>
              <a:gd name="connsiteX17" fmla="*/ 426049 w 426089"/>
              <a:gd name="connsiteY17" fmla="*/ 422477 h 42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26089" h="427716">
                <a:moveTo>
                  <a:pt x="426089" y="422517"/>
                </a:moveTo>
                <a:cubicBezTo>
                  <a:pt x="426089" y="422279"/>
                  <a:pt x="426049" y="422080"/>
                  <a:pt x="426049" y="421842"/>
                </a:cubicBezTo>
                <a:cubicBezTo>
                  <a:pt x="426049" y="404894"/>
                  <a:pt x="426049" y="18536"/>
                  <a:pt x="426049" y="0"/>
                </a:cubicBezTo>
                <a:lnTo>
                  <a:pt x="0" y="0"/>
                </a:lnTo>
                <a:lnTo>
                  <a:pt x="0" y="4088"/>
                </a:lnTo>
                <a:cubicBezTo>
                  <a:pt x="119" y="4565"/>
                  <a:pt x="198" y="5120"/>
                  <a:pt x="238" y="5755"/>
                </a:cubicBezTo>
                <a:cubicBezTo>
                  <a:pt x="1707" y="26157"/>
                  <a:pt x="2342" y="46717"/>
                  <a:pt x="5239" y="66920"/>
                </a:cubicBezTo>
                <a:cubicBezTo>
                  <a:pt x="7819" y="84980"/>
                  <a:pt x="12543" y="102801"/>
                  <a:pt x="16988" y="120543"/>
                </a:cubicBezTo>
                <a:cubicBezTo>
                  <a:pt x="22346" y="141818"/>
                  <a:pt x="30523" y="162140"/>
                  <a:pt x="39692" y="182026"/>
                </a:cubicBezTo>
                <a:cubicBezTo>
                  <a:pt x="45129" y="193854"/>
                  <a:pt x="51480" y="205325"/>
                  <a:pt x="57870" y="216676"/>
                </a:cubicBezTo>
                <a:cubicBezTo>
                  <a:pt x="73429" y="244222"/>
                  <a:pt x="92362" y="269307"/>
                  <a:pt x="113835" y="292606"/>
                </a:cubicBezTo>
                <a:cubicBezTo>
                  <a:pt x="131578" y="311896"/>
                  <a:pt x="150471" y="329837"/>
                  <a:pt x="171865" y="344920"/>
                </a:cubicBezTo>
                <a:cubicBezTo>
                  <a:pt x="187186" y="355716"/>
                  <a:pt x="202903" y="365956"/>
                  <a:pt x="218859" y="375800"/>
                </a:cubicBezTo>
                <a:cubicBezTo>
                  <a:pt x="240888" y="389414"/>
                  <a:pt x="264663" y="399456"/>
                  <a:pt x="289074" y="407871"/>
                </a:cubicBezTo>
                <a:cubicBezTo>
                  <a:pt x="317056" y="417476"/>
                  <a:pt x="345674" y="424581"/>
                  <a:pt x="375165" y="427677"/>
                </a:cubicBezTo>
                <a:cubicBezTo>
                  <a:pt x="375324" y="427677"/>
                  <a:pt x="375482" y="427677"/>
                  <a:pt x="375641" y="427717"/>
                </a:cubicBezTo>
                <a:lnTo>
                  <a:pt x="426049" y="427717"/>
                </a:lnTo>
                <a:lnTo>
                  <a:pt x="426049" y="422477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BFBE97-E6C4-4F58-8BF2-C8CD13009663}"/>
              </a:ext>
            </a:extLst>
          </p:cNvPr>
          <p:cNvSpPr/>
          <p:nvPr userDrawn="1"/>
        </p:nvSpPr>
        <p:spPr>
          <a:xfrm>
            <a:off x="11263759" y="3279795"/>
            <a:ext cx="322445" cy="322445"/>
          </a:xfrm>
          <a:custGeom>
            <a:avLst/>
            <a:gdLst>
              <a:gd name="connsiteX0" fmla="*/ 322445 w 322445"/>
              <a:gd name="connsiteY0" fmla="*/ 0 h 322445"/>
              <a:gd name="connsiteX1" fmla="*/ 0 w 322445"/>
              <a:gd name="connsiteY1" fmla="*/ 0 h 322445"/>
              <a:gd name="connsiteX2" fmla="*/ 0 w 322445"/>
              <a:gd name="connsiteY2" fmla="*/ 322445 h 322445"/>
              <a:gd name="connsiteX3" fmla="*/ 322445 w 322445"/>
              <a:gd name="connsiteY3" fmla="*/ 322445 h 322445"/>
              <a:gd name="connsiteX4" fmla="*/ 322445 w 322445"/>
              <a:gd name="connsiteY4" fmla="*/ 0 h 322445"/>
              <a:gd name="connsiteX5" fmla="*/ 239287 w 322445"/>
              <a:gd name="connsiteY5" fmla="*/ 166769 h 322445"/>
              <a:gd name="connsiteX6" fmla="*/ 195704 w 322445"/>
              <a:gd name="connsiteY6" fmla="*/ 209840 h 322445"/>
              <a:gd name="connsiteX7" fmla="*/ 163785 w 322445"/>
              <a:gd name="connsiteY7" fmla="*/ 241819 h 322445"/>
              <a:gd name="connsiteX8" fmla="*/ 158691 w 322445"/>
              <a:gd name="connsiteY8" fmla="*/ 241940 h 322445"/>
              <a:gd name="connsiteX9" fmla="*/ 139310 w 322445"/>
              <a:gd name="connsiteY9" fmla="*/ 222499 h 322445"/>
              <a:gd name="connsiteX10" fmla="*/ 125325 w 322445"/>
              <a:gd name="connsiteY10" fmla="*/ 208966 h 322445"/>
              <a:gd name="connsiteX11" fmla="*/ 111732 w 322445"/>
              <a:gd name="connsiteY11" fmla="*/ 195041 h 322445"/>
              <a:gd name="connsiteX12" fmla="*/ 97867 w 322445"/>
              <a:gd name="connsiteY12" fmla="*/ 181387 h 322445"/>
              <a:gd name="connsiteX13" fmla="*/ 82555 w 322445"/>
              <a:gd name="connsiteY13" fmla="*/ 165714 h 322445"/>
              <a:gd name="connsiteX14" fmla="*/ 83399 w 322445"/>
              <a:gd name="connsiteY14" fmla="*/ 161373 h 322445"/>
              <a:gd name="connsiteX15" fmla="*/ 118664 w 322445"/>
              <a:gd name="connsiteY15" fmla="*/ 126320 h 322445"/>
              <a:gd name="connsiteX16" fmla="*/ 158510 w 322445"/>
              <a:gd name="connsiteY16" fmla="*/ 86413 h 322445"/>
              <a:gd name="connsiteX17" fmla="*/ 163845 w 322445"/>
              <a:gd name="connsiteY17" fmla="*/ 86323 h 322445"/>
              <a:gd name="connsiteX18" fmla="*/ 180302 w 322445"/>
              <a:gd name="connsiteY18" fmla="*/ 102810 h 322445"/>
              <a:gd name="connsiteX19" fmla="*/ 194287 w 322445"/>
              <a:gd name="connsiteY19" fmla="*/ 116343 h 322445"/>
              <a:gd name="connsiteX20" fmla="*/ 207881 w 322445"/>
              <a:gd name="connsiteY20" fmla="*/ 130268 h 322445"/>
              <a:gd name="connsiteX21" fmla="*/ 221745 w 322445"/>
              <a:gd name="connsiteY21" fmla="*/ 143922 h 322445"/>
              <a:gd name="connsiteX22" fmla="*/ 235309 w 322445"/>
              <a:gd name="connsiteY22" fmla="*/ 157425 h 322445"/>
              <a:gd name="connsiteX23" fmla="*/ 239016 w 322445"/>
              <a:gd name="connsiteY23" fmla="*/ 161072 h 322445"/>
              <a:gd name="connsiteX24" fmla="*/ 241367 w 322445"/>
              <a:gd name="connsiteY24" fmla="*/ 163755 h 322445"/>
              <a:gd name="connsiteX25" fmla="*/ 239317 w 322445"/>
              <a:gd name="connsiteY25" fmla="*/ 166829 h 322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2445" h="322445">
                <a:moveTo>
                  <a:pt x="322445" y="0"/>
                </a:moveTo>
                <a:lnTo>
                  <a:pt x="0" y="0"/>
                </a:lnTo>
                <a:lnTo>
                  <a:pt x="0" y="322445"/>
                </a:lnTo>
                <a:lnTo>
                  <a:pt x="322445" y="322445"/>
                </a:lnTo>
                <a:cubicBezTo>
                  <a:pt x="322445" y="270845"/>
                  <a:pt x="322445" y="52354"/>
                  <a:pt x="322445" y="0"/>
                </a:cubicBezTo>
                <a:close/>
                <a:moveTo>
                  <a:pt x="239287" y="166769"/>
                </a:moveTo>
                <a:cubicBezTo>
                  <a:pt x="224790" y="181146"/>
                  <a:pt x="210201" y="195463"/>
                  <a:pt x="195704" y="209840"/>
                </a:cubicBezTo>
                <a:cubicBezTo>
                  <a:pt x="185004" y="220449"/>
                  <a:pt x="174364" y="231089"/>
                  <a:pt x="163785" y="241819"/>
                </a:cubicBezTo>
                <a:cubicBezTo>
                  <a:pt x="161886" y="243748"/>
                  <a:pt x="160650" y="243959"/>
                  <a:pt x="158691" y="241940"/>
                </a:cubicBezTo>
                <a:cubicBezTo>
                  <a:pt x="152331" y="235369"/>
                  <a:pt x="145821" y="228919"/>
                  <a:pt x="139310" y="222499"/>
                </a:cubicBezTo>
                <a:cubicBezTo>
                  <a:pt x="134699" y="217948"/>
                  <a:pt x="129907" y="213547"/>
                  <a:pt x="125325" y="208966"/>
                </a:cubicBezTo>
                <a:cubicBezTo>
                  <a:pt x="120744" y="204384"/>
                  <a:pt x="116313" y="199622"/>
                  <a:pt x="111732" y="195041"/>
                </a:cubicBezTo>
                <a:cubicBezTo>
                  <a:pt x="107150" y="190429"/>
                  <a:pt x="102448" y="185998"/>
                  <a:pt x="97867" y="181387"/>
                </a:cubicBezTo>
                <a:cubicBezTo>
                  <a:pt x="92713" y="176203"/>
                  <a:pt x="87710" y="170898"/>
                  <a:pt x="82555" y="165714"/>
                </a:cubicBezTo>
                <a:cubicBezTo>
                  <a:pt x="80626" y="163755"/>
                  <a:pt x="82194" y="162579"/>
                  <a:pt x="83399" y="161373"/>
                </a:cubicBezTo>
                <a:cubicBezTo>
                  <a:pt x="95154" y="149679"/>
                  <a:pt x="106939" y="138014"/>
                  <a:pt x="118664" y="126320"/>
                </a:cubicBezTo>
                <a:cubicBezTo>
                  <a:pt x="131986" y="113058"/>
                  <a:pt x="145278" y="99766"/>
                  <a:pt x="158510" y="86413"/>
                </a:cubicBezTo>
                <a:cubicBezTo>
                  <a:pt x="160499" y="84394"/>
                  <a:pt x="161795" y="84183"/>
                  <a:pt x="163845" y="86323"/>
                </a:cubicBezTo>
                <a:cubicBezTo>
                  <a:pt x="169210" y="91929"/>
                  <a:pt x="174756" y="97355"/>
                  <a:pt x="180302" y="102810"/>
                </a:cubicBezTo>
                <a:cubicBezTo>
                  <a:pt x="184913" y="107361"/>
                  <a:pt x="189706" y="111762"/>
                  <a:pt x="194287" y="116343"/>
                </a:cubicBezTo>
                <a:cubicBezTo>
                  <a:pt x="198869" y="120925"/>
                  <a:pt x="203299" y="125687"/>
                  <a:pt x="207881" y="130268"/>
                </a:cubicBezTo>
                <a:cubicBezTo>
                  <a:pt x="212462" y="134880"/>
                  <a:pt x="217134" y="139371"/>
                  <a:pt x="221745" y="143922"/>
                </a:cubicBezTo>
                <a:cubicBezTo>
                  <a:pt x="226266" y="148413"/>
                  <a:pt x="230788" y="152904"/>
                  <a:pt x="235309" y="157425"/>
                </a:cubicBezTo>
                <a:cubicBezTo>
                  <a:pt x="236544" y="158661"/>
                  <a:pt x="237810" y="159836"/>
                  <a:pt x="239016" y="161072"/>
                </a:cubicBezTo>
                <a:cubicBezTo>
                  <a:pt x="239800" y="161886"/>
                  <a:pt x="240493" y="162760"/>
                  <a:pt x="241367" y="163755"/>
                </a:cubicBezTo>
                <a:cubicBezTo>
                  <a:pt x="240583" y="164960"/>
                  <a:pt x="240101" y="166045"/>
                  <a:pt x="239317" y="166829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FAA5E9B-15D7-4A46-9445-DBF7FDCA2229}"/>
              </a:ext>
            </a:extLst>
          </p:cNvPr>
          <p:cNvSpPr/>
          <p:nvPr userDrawn="1"/>
        </p:nvSpPr>
        <p:spPr>
          <a:xfrm>
            <a:off x="9313129" y="139345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8AEFC798-567A-452F-9325-69314A4F5F00}"/>
              </a:ext>
            </a:extLst>
          </p:cNvPr>
          <p:cNvSpPr/>
          <p:nvPr userDrawn="1"/>
        </p:nvSpPr>
        <p:spPr>
          <a:xfrm>
            <a:off x="2667716" y="1455514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CE4FFE6-E4F4-4328-9816-079810AEEFB2}"/>
              </a:ext>
            </a:extLst>
          </p:cNvPr>
          <p:cNvSpPr/>
          <p:nvPr userDrawn="1"/>
        </p:nvSpPr>
        <p:spPr>
          <a:xfrm rot="2700000">
            <a:off x="2697865" y="5221378"/>
            <a:ext cx="145571" cy="14557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4ECBAFB-03C9-48E9-AAB4-2CEF49193A69}"/>
              </a:ext>
            </a:extLst>
          </p:cNvPr>
          <p:cNvSpPr/>
          <p:nvPr userDrawn="1"/>
        </p:nvSpPr>
        <p:spPr>
          <a:xfrm>
            <a:off x="9313129" y="5177722"/>
            <a:ext cx="209797" cy="209797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933639C8-C39E-4323-BB3C-A51E9D7D047E}"/>
              </a:ext>
            </a:extLst>
          </p:cNvPr>
          <p:cNvSpPr/>
          <p:nvPr userDrawn="1"/>
        </p:nvSpPr>
        <p:spPr>
          <a:xfrm rot="2700000">
            <a:off x="3940117" y="943225"/>
            <a:ext cx="162161" cy="162161"/>
          </a:xfrm>
          <a:custGeom>
            <a:avLst/>
            <a:gdLst>
              <a:gd name="connsiteX0" fmla="*/ 0 w 145571"/>
              <a:gd name="connsiteY0" fmla="*/ 0 h 145571"/>
              <a:gd name="connsiteX1" fmla="*/ 145572 w 145571"/>
              <a:gd name="connsiteY1" fmla="*/ 0 h 145571"/>
              <a:gd name="connsiteX2" fmla="*/ 145572 w 145571"/>
              <a:gd name="connsiteY2" fmla="*/ 145572 h 145571"/>
              <a:gd name="connsiteX3" fmla="*/ 0 w 145571"/>
              <a:gd name="connsiteY3" fmla="*/ 145572 h 14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71" h="145571">
                <a:moveTo>
                  <a:pt x="0" y="0"/>
                </a:moveTo>
                <a:lnTo>
                  <a:pt x="145572" y="0"/>
                </a:lnTo>
                <a:lnTo>
                  <a:pt x="145572" y="145572"/>
                </a:lnTo>
                <a:lnTo>
                  <a:pt x="0" y="145572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F81D2E04-FAAB-41F0-BEC4-CC6FC1871D33}"/>
              </a:ext>
            </a:extLst>
          </p:cNvPr>
          <p:cNvSpPr/>
          <p:nvPr userDrawn="1"/>
        </p:nvSpPr>
        <p:spPr>
          <a:xfrm>
            <a:off x="3904344" y="5706460"/>
            <a:ext cx="233706" cy="233706"/>
          </a:xfrm>
          <a:custGeom>
            <a:avLst/>
            <a:gdLst>
              <a:gd name="connsiteX0" fmla="*/ 209797 w 209797"/>
              <a:gd name="connsiteY0" fmla="*/ 0 h 209797"/>
              <a:gd name="connsiteX1" fmla="*/ 0 w 209797"/>
              <a:gd name="connsiteY1" fmla="*/ 0 h 209797"/>
              <a:gd name="connsiteX2" fmla="*/ 0 w 209797"/>
              <a:gd name="connsiteY2" fmla="*/ 209797 h 209797"/>
              <a:gd name="connsiteX3" fmla="*/ 209797 w 209797"/>
              <a:gd name="connsiteY3" fmla="*/ 209797 h 209797"/>
              <a:gd name="connsiteX4" fmla="*/ 209797 w 209797"/>
              <a:gd name="connsiteY4" fmla="*/ 0 h 209797"/>
              <a:gd name="connsiteX5" fmla="*/ 155691 w 209797"/>
              <a:gd name="connsiteY5" fmla="*/ 108507 h 209797"/>
              <a:gd name="connsiteX6" fmla="*/ 127334 w 209797"/>
              <a:gd name="connsiteY6" fmla="*/ 136531 h 209797"/>
              <a:gd name="connsiteX7" fmla="*/ 106566 w 209797"/>
              <a:gd name="connsiteY7" fmla="*/ 157338 h 209797"/>
              <a:gd name="connsiteX8" fmla="*/ 103251 w 209797"/>
              <a:gd name="connsiteY8" fmla="*/ 157417 h 209797"/>
              <a:gd name="connsiteX9" fmla="*/ 90642 w 209797"/>
              <a:gd name="connsiteY9" fmla="*/ 144768 h 209797"/>
              <a:gd name="connsiteX10" fmla="*/ 81542 w 209797"/>
              <a:gd name="connsiteY10" fmla="*/ 135962 h 209797"/>
              <a:gd name="connsiteX11" fmla="*/ 72698 w 209797"/>
              <a:gd name="connsiteY11" fmla="*/ 126902 h 209797"/>
              <a:gd name="connsiteX12" fmla="*/ 63677 w 209797"/>
              <a:gd name="connsiteY12" fmla="*/ 118018 h 209797"/>
              <a:gd name="connsiteX13" fmla="*/ 53714 w 209797"/>
              <a:gd name="connsiteY13" fmla="*/ 107821 h 209797"/>
              <a:gd name="connsiteX14" fmla="*/ 54263 w 209797"/>
              <a:gd name="connsiteY14" fmla="*/ 104997 h 209797"/>
              <a:gd name="connsiteX15" fmla="*/ 77208 w 209797"/>
              <a:gd name="connsiteY15" fmla="*/ 82189 h 209797"/>
              <a:gd name="connsiteX16" fmla="*/ 103134 w 209797"/>
              <a:gd name="connsiteY16" fmla="*/ 56224 h 209797"/>
              <a:gd name="connsiteX17" fmla="*/ 106605 w 209797"/>
              <a:gd name="connsiteY17" fmla="*/ 56166 h 209797"/>
              <a:gd name="connsiteX18" fmla="*/ 117312 w 209797"/>
              <a:gd name="connsiteY18" fmla="*/ 66893 h 209797"/>
              <a:gd name="connsiteX19" fmla="*/ 126412 w 209797"/>
              <a:gd name="connsiteY19" fmla="*/ 75698 h 209797"/>
              <a:gd name="connsiteX20" fmla="*/ 135256 w 209797"/>
              <a:gd name="connsiteY20" fmla="*/ 84758 h 209797"/>
              <a:gd name="connsiteX21" fmla="*/ 144277 w 209797"/>
              <a:gd name="connsiteY21" fmla="*/ 93642 h 209797"/>
              <a:gd name="connsiteX22" fmla="*/ 153102 w 209797"/>
              <a:gd name="connsiteY22" fmla="*/ 102428 h 209797"/>
              <a:gd name="connsiteX23" fmla="*/ 155514 w 209797"/>
              <a:gd name="connsiteY23" fmla="*/ 104801 h 209797"/>
              <a:gd name="connsiteX24" fmla="*/ 157044 w 209797"/>
              <a:gd name="connsiteY24" fmla="*/ 106546 h 209797"/>
              <a:gd name="connsiteX25" fmla="*/ 155711 w 209797"/>
              <a:gd name="connsiteY25" fmla="*/ 108546 h 20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797" h="209797">
                <a:moveTo>
                  <a:pt x="209797" y="0"/>
                </a:moveTo>
                <a:lnTo>
                  <a:pt x="0" y="0"/>
                </a:lnTo>
                <a:lnTo>
                  <a:pt x="0" y="209797"/>
                </a:lnTo>
                <a:lnTo>
                  <a:pt x="209797" y="209797"/>
                </a:lnTo>
                <a:cubicBezTo>
                  <a:pt x="209797" y="176224"/>
                  <a:pt x="209797" y="34064"/>
                  <a:pt x="209797" y="0"/>
                </a:cubicBezTo>
                <a:close/>
                <a:moveTo>
                  <a:pt x="155691" y="108507"/>
                </a:moveTo>
                <a:cubicBezTo>
                  <a:pt x="146258" y="117862"/>
                  <a:pt x="136766" y="127177"/>
                  <a:pt x="127334" y="136531"/>
                </a:cubicBezTo>
                <a:cubicBezTo>
                  <a:pt x="120372" y="143434"/>
                  <a:pt x="113449" y="150357"/>
                  <a:pt x="106566" y="157338"/>
                </a:cubicBezTo>
                <a:cubicBezTo>
                  <a:pt x="105330" y="158593"/>
                  <a:pt x="104526" y="158731"/>
                  <a:pt x="103251" y="157417"/>
                </a:cubicBezTo>
                <a:cubicBezTo>
                  <a:pt x="99114" y="153142"/>
                  <a:pt x="94878" y="148945"/>
                  <a:pt x="90642" y="144768"/>
                </a:cubicBezTo>
                <a:cubicBezTo>
                  <a:pt x="87641" y="141806"/>
                  <a:pt x="84523" y="138943"/>
                  <a:pt x="81542" y="135962"/>
                </a:cubicBezTo>
                <a:cubicBezTo>
                  <a:pt x="78561" y="132982"/>
                  <a:pt x="75678" y="129883"/>
                  <a:pt x="72698" y="126902"/>
                </a:cubicBezTo>
                <a:cubicBezTo>
                  <a:pt x="69717" y="123902"/>
                  <a:pt x="66657" y="121019"/>
                  <a:pt x="63677" y="118018"/>
                </a:cubicBezTo>
                <a:cubicBezTo>
                  <a:pt x="60323" y="114645"/>
                  <a:pt x="57068" y="111194"/>
                  <a:pt x="53714" y="107821"/>
                </a:cubicBezTo>
                <a:cubicBezTo>
                  <a:pt x="52459" y="106546"/>
                  <a:pt x="53479" y="105781"/>
                  <a:pt x="54263" y="104997"/>
                </a:cubicBezTo>
                <a:cubicBezTo>
                  <a:pt x="61912" y="97388"/>
                  <a:pt x="69579" y="89798"/>
                  <a:pt x="77208" y="82189"/>
                </a:cubicBezTo>
                <a:cubicBezTo>
                  <a:pt x="85876" y="73561"/>
                  <a:pt x="94525" y="64912"/>
                  <a:pt x="103134" y="56224"/>
                </a:cubicBezTo>
                <a:cubicBezTo>
                  <a:pt x="104428" y="54911"/>
                  <a:pt x="105271" y="54773"/>
                  <a:pt x="106605" y="56166"/>
                </a:cubicBezTo>
                <a:cubicBezTo>
                  <a:pt x="110096" y="59813"/>
                  <a:pt x="113704" y="63343"/>
                  <a:pt x="117312" y="66893"/>
                </a:cubicBezTo>
                <a:cubicBezTo>
                  <a:pt x="120313" y="69854"/>
                  <a:pt x="123431" y="72717"/>
                  <a:pt x="126412" y="75698"/>
                </a:cubicBezTo>
                <a:cubicBezTo>
                  <a:pt x="129393" y="78679"/>
                  <a:pt x="132276" y="81777"/>
                  <a:pt x="135256" y="84758"/>
                </a:cubicBezTo>
                <a:cubicBezTo>
                  <a:pt x="138237" y="87759"/>
                  <a:pt x="141277" y="90681"/>
                  <a:pt x="144277" y="93642"/>
                </a:cubicBezTo>
                <a:cubicBezTo>
                  <a:pt x="147219" y="96564"/>
                  <a:pt x="150161" y="99486"/>
                  <a:pt x="153102" y="102428"/>
                </a:cubicBezTo>
                <a:cubicBezTo>
                  <a:pt x="153906" y="103232"/>
                  <a:pt x="154730" y="103997"/>
                  <a:pt x="155514" y="104801"/>
                </a:cubicBezTo>
                <a:cubicBezTo>
                  <a:pt x="156024" y="105330"/>
                  <a:pt x="156475" y="105899"/>
                  <a:pt x="157044" y="106546"/>
                </a:cubicBezTo>
                <a:cubicBezTo>
                  <a:pt x="156534" y="107330"/>
                  <a:pt x="156220" y="108036"/>
                  <a:pt x="155711" y="108546"/>
                </a:cubicBez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36" name="Graphic 48">
            <a:extLst>
              <a:ext uri="{FF2B5EF4-FFF2-40B4-BE49-F238E27FC236}">
                <a16:creationId xmlns:a16="http://schemas.microsoft.com/office/drawing/2014/main" id="{D75C5AA6-B737-42BD-BF37-2472EAF14D65}"/>
              </a:ext>
            </a:extLst>
          </p:cNvPr>
          <p:cNvGrpSpPr/>
          <p:nvPr userDrawn="1"/>
        </p:nvGrpSpPr>
        <p:grpSpPr>
          <a:xfrm>
            <a:off x="8052772" y="906818"/>
            <a:ext cx="234886" cy="234974"/>
            <a:chOff x="7651892" y="875989"/>
            <a:chExt cx="210856" cy="210935"/>
          </a:xfrm>
          <a:solidFill>
            <a:srgbClr val="FFC900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06E0E0F-52BC-4191-ACFA-8046058C2249}"/>
                </a:ext>
              </a:extLst>
            </p:cNvPr>
            <p:cNvSpPr/>
            <p:nvPr/>
          </p:nvSpPr>
          <p:spPr>
            <a:xfrm>
              <a:off x="7651912" y="875989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382AC92-2DC5-427D-8E49-040400C97840}"/>
                </a:ext>
              </a:extLst>
            </p:cNvPr>
            <p:cNvSpPr/>
            <p:nvPr/>
          </p:nvSpPr>
          <p:spPr>
            <a:xfrm>
              <a:off x="7651912" y="875989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BA4C213-4855-49AC-BFDA-9580A4D2C753}"/>
                </a:ext>
              </a:extLst>
            </p:cNvPr>
            <p:cNvSpPr/>
            <p:nvPr/>
          </p:nvSpPr>
          <p:spPr>
            <a:xfrm>
              <a:off x="7709332" y="933507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4DAF59E-BD5B-48CD-95D7-F7B000425ADD}"/>
                </a:ext>
              </a:extLst>
            </p:cNvPr>
            <p:cNvSpPr/>
            <p:nvPr/>
          </p:nvSpPr>
          <p:spPr>
            <a:xfrm>
              <a:off x="7651892" y="875989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0DCBC31-A29A-4121-9404-A3DC0FC9EC09}"/>
                </a:ext>
              </a:extLst>
            </p:cNvPr>
            <p:cNvSpPr/>
            <p:nvPr/>
          </p:nvSpPr>
          <p:spPr>
            <a:xfrm>
              <a:off x="7769205" y="993380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274A033-F70A-429C-95BB-45234785CF07}"/>
                </a:ext>
              </a:extLst>
            </p:cNvPr>
            <p:cNvSpPr/>
            <p:nvPr/>
          </p:nvSpPr>
          <p:spPr>
            <a:xfrm>
              <a:off x="7651931" y="875989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47BCFEC-82A6-476D-8A79-282FCC0EA5C7}"/>
                </a:ext>
              </a:extLst>
            </p:cNvPr>
            <p:cNvSpPr/>
            <p:nvPr/>
          </p:nvSpPr>
          <p:spPr>
            <a:xfrm>
              <a:off x="7828998" y="1053232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2BD5A63-9CB3-4AF1-97FE-70B159074005}"/>
              </a:ext>
            </a:extLst>
          </p:cNvPr>
          <p:cNvSpPr/>
          <p:nvPr userDrawn="1"/>
        </p:nvSpPr>
        <p:spPr>
          <a:xfrm>
            <a:off x="8052958" y="5705608"/>
            <a:ext cx="234515" cy="235410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05C6787-4C3C-4697-92A7-F3648C57C097}"/>
              </a:ext>
            </a:extLst>
          </p:cNvPr>
          <p:cNvSpPr/>
          <p:nvPr userDrawn="1"/>
        </p:nvSpPr>
        <p:spPr>
          <a:xfrm>
            <a:off x="2057941" y="3323337"/>
            <a:ext cx="210523" cy="211327"/>
          </a:xfrm>
          <a:custGeom>
            <a:avLst/>
            <a:gdLst>
              <a:gd name="connsiteX0" fmla="*/ 210523 w 210523"/>
              <a:gd name="connsiteY0" fmla="*/ 208758 h 211327"/>
              <a:gd name="connsiteX1" fmla="*/ 210503 w 210523"/>
              <a:gd name="connsiteY1" fmla="*/ 208425 h 211327"/>
              <a:gd name="connsiteX2" fmla="*/ 210503 w 210523"/>
              <a:gd name="connsiteY2" fmla="*/ 0 h 211327"/>
              <a:gd name="connsiteX3" fmla="*/ 0 w 210523"/>
              <a:gd name="connsiteY3" fmla="*/ 0 h 211327"/>
              <a:gd name="connsiteX4" fmla="*/ 0 w 210523"/>
              <a:gd name="connsiteY4" fmla="*/ 2020 h 211327"/>
              <a:gd name="connsiteX5" fmla="*/ 118 w 210523"/>
              <a:gd name="connsiteY5" fmla="*/ 2844 h 211327"/>
              <a:gd name="connsiteX6" fmla="*/ 2589 w 210523"/>
              <a:gd name="connsiteY6" fmla="*/ 33064 h 211327"/>
              <a:gd name="connsiteX7" fmla="*/ 8393 w 210523"/>
              <a:gd name="connsiteY7" fmla="*/ 59558 h 211327"/>
              <a:gd name="connsiteX8" fmla="*/ 19611 w 210523"/>
              <a:gd name="connsiteY8" fmla="*/ 89936 h 211327"/>
              <a:gd name="connsiteX9" fmla="*/ 28593 w 210523"/>
              <a:gd name="connsiteY9" fmla="*/ 107056 h 211327"/>
              <a:gd name="connsiteX10" fmla="*/ 56244 w 210523"/>
              <a:gd name="connsiteY10" fmla="*/ 144572 h 211327"/>
              <a:gd name="connsiteX11" fmla="*/ 84915 w 210523"/>
              <a:gd name="connsiteY11" fmla="*/ 170419 h 211327"/>
              <a:gd name="connsiteX12" fmla="*/ 108135 w 210523"/>
              <a:gd name="connsiteY12" fmla="*/ 185676 h 211327"/>
              <a:gd name="connsiteX13" fmla="*/ 142826 w 210523"/>
              <a:gd name="connsiteY13" fmla="*/ 201522 h 211327"/>
              <a:gd name="connsiteX14" fmla="*/ 185362 w 210523"/>
              <a:gd name="connsiteY14" fmla="*/ 211307 h 211327"/>
              <a:gd name="connsiteX15" fmla="*/ 185598 w 210523"/>
              <a:gd name="connsiteY15" fmla="*/ 211327 h 211327"/>
              <a:gd name="connsiteX16" fmla="*/ 210503 w 210523"/>
              <a:gd name="connsiteY16" fmla="*/ 211327 h 211327"/>
              <a:gd name="connsiteX17" fmla="*/ 210503 w 210523"/>
              <a:gd name="connsiteY17" fmla="*/ 208738 h 21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523" h="211327">
                <a:moveTo>
                  <a:pt x="210523" y="208758"/>
                </a:moveTo>
                <a:cubicBezTo>
                  <a:pt x="210523" y="208640"/>
                  <a:pt x="210503" y="208542"/>
                  <a:pt x="210503" y="208425"/>
                </a:cubicBezTo>
                <a:cubicBezTo>
                  <a:pt x="210503" y="200051"/>
                  <a:pt x="210503" y="9158"/>
                  <a:pt x="210503" y="0"/>
                </a:cubicBezTo>
                <a:lnTo>
                  <a:pt x="0" y="0"/>
                </a:lnTo>
                <a:lnTo>
                  <a:pt x="0" y="2020"/>
                </a:lnTo>
                <a:cubicBezTo>
                  <a:pt x="59" y="2255"/>
                  <a:pt x="98" y="2530"/>
                  <a:pt x="118" y="2844"/>
                </a:cubicBezTo>
                <a:cubicBezTo>
                  <a:pt x="843" y="12924"/>
                  <a:pt x="1157" y="23082"/>
                  <a:pt x="2589" y="33064"/>
                </a:cubicBezTo>
                <a:cubicBezTo>
                  <a:pt x="3863" y="41987"/>
                  <a:pt x="6197" y="50792"/>
                  <a:pt x="8393" y="59558"/>
                </a:cubicBezTo>
                <a:cubicBezTo>
                  <a:pt x="11041" y="70070"/>
                  <a:pt x="15081" y="80111"/>
                  <a:pt x="19611" y="89936"/>
                </a:cubicBezTo>
                <a:cubicBezTo>
                  <a:pt x="22298" y="95780"/>
                  <a:pt x="25435" y="101447"/>
                  <a:pt x="28593" y="107056"/>
                </a:cubicBezTo>
                <a:cubicBezTo>
                  <a:pt x="36280" y="120666"/>
                  <a:pt x="45635" y="133060"/>
                  <a:pt x="56244" y="144572"/>
                </a:cubicBezTo>
                <a:cubicBezTo>
                  <a:pt x="65010" y="154102"/>
                  <a:pt x="74345" y="162967"/>
                  <a:pt x="84915" y="170419"/>
                </a:cubicBezTo>
                <a:cubicBezTo>
                  <a:pt x="92485" y="175753"/>
                  <a:pt x="100251" y="180813"/>
                  <a:pt x="108135" y="185676"/>
                </a:cubicBezTo>
                <a:cubicBezTo>
                  <a:pt x="119019" y="192403"/>
                  <a:pt x="130766" y="197364"/>
                  <a:pt x="142826" y="201522"/>
                </a:cubicBezTo>
                <a:cubicBezTo>
                  <a:pt x="156652" y="206268"/>
                  <a:pt x="170791" y="209778"/>
                  <a:pt x="185362" y="211307"/>
                </a:cubicBezTo>
                <a:cubicBezTo>
                  <a:pt x="185441" y="211307"/>
                  <a:pt x="185519" y="211307"/>
                  <a:pt x="185598" y="211327"/>
                </a:cubicBezTo>
                <a:lnTo>
                  <a:pt x="210503" y="211327"/>
                </a:lnTo>
                <a:lnTo>
                  <a:pt x="210503" y="208738"/>
                </a:lnTo>
                <a:close/>
              </a:path>
            </a:pathLst>
          </a:custGeom>
          <a:solidFill>
            <a:srgbClr val="FFC900"/>
          </a:solidFill>
          <a:ln w="504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46" name="Graphic 45">
            <a:extLst>
              <a:ext uri="{FF2B5EF4-FFF2-40B4-BE49-F238E27FC236}">
                <a16:creationId xmlns:a16="http://schemas.microsoft.com/office/drawing/2014/main" id="{8D50AC12-FF20-4145-A415-0F68ABBAC050}"/>
              </a:ext>
            </a:extLst>
          </p:cNvPr>
          <p:cNvGrpSpPr/>
          <p:nvPr userDrawn="1"/>
        </p:nvGrpSpPr>
        <p:grpSpPr>
          <a:xfrm>
            <a:off x="9923204" y="3323533"/>
            <a:ext cx="210856" cy="210935"/>
            <a:chOff x="10112114" y="3433451"/>
            <a:chExt cx="210856" cy="210935"/>
          </a:xfrm>
          <a:solidFill>
            <a:srgbClr val="FFC900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FEB0057-6365-4C0F-A89D-A80D3CE48664}"/>
                </a:ext>
              </a:extLst>
            </p:cNvPr>
            <p:cNvSpPr/>
            <p:nvPr/>
          </p:nvSpPr>
          <p:spPr>
            <a:xfrm>
              <a:off x="10112134" y="3433451"/>
              <a:ext cx="210836" cy="210935"/>
            </a:xfrm>
            <a:custGeom>
              <a:avLst/>
              <a:gdLst>
                <a:gd name="connsiteX0" fmla="*/ 210817 w 210836"/>
                <a:gd name="connsiteY0" fmla="*/ 28161 h 210935"/>
                <a:gd name="connsiteX1" fmla="*/ 209229 w 210836"/>
                <a:gd name="connsiteY1" fmla="*/ 29573 h 210935"/>
                <a:gd name="connsiteX2" fmla="*/ 29377 w 210836"/>
                <a:gd name="connsiteY2" fmla="*/ 209464 h 210935"/>
                <a:gd name="connsiteX3" fmla="*/ 25828 w 210836"/>
                <a:gd name="connsiteY3" fmla="*/ 210935 h 210935"/>
                <a:gd name="connsiteX4" fmla="*/ 2177 w 210836"/>
                <a:gd name="connsiteY4" fmla="*/ 210896 h 210935"/>
                <a:gd name="connsiteX5" fmla="*/ 0 w 210836"/>
                <a:gd name="connsiteY5" fmla="*/ 210896 h 210935"/>
                <a:gd name="connsiteX6" fmla="*/ 0 w 210836"/>
                <a:gd name="connsiteY6" fmla="*/ 208562 h 210935"/>
                <a:gd name="connsiteX7" fmla="*/ 647 w 210836"/>
                <a:gd name="connsiteY7" fmla="*/ 207738 h 210935"/>
                <a:gd name="connsiteX8" fmla="*/ 2098 w 210836"/>
                <a:gd name="connsiteY8" fmla="*/ 206169 h 210935"/>
                <a:gd name="connsiteX9" fmla="*/ 206679 w 210836"/>
                <a:gd name="connsiteY9" fmla="*/ 1588 h 210935"/>
                <a:gd name="connsiteX10" fmla="*/ 208091 w 210836"/>
                <a:gd name="connsiteY10" fmla="*/ 0 h 210935"/>
                <a:gd name="connsiteX11" fmla="*/ 210837 w 210836"/>
                <a:gd name="connsiteY11" fmla="*/ 0 h 210935"/>
                <a:gd name="connsiteX12" fmla="*/ 210837 w 210836"/>
                <a:gd name="connsiteY12" fmla="*/ 28181 h 21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836" h="210935">
                  <a:moveTo>
                    <a:pt x="210817" y="28161"/>
                  </a:moveTo>
                  <a:cubicBezTo>
                    <a:pt x="210288" y="28632"/>
                    <a:pt x="209739" y="29063"/>
                    <a:pt x="209229" y="29573"/>
                  </a:cubicBezTo>
                  <a:cubicBezTo>
                    <a:pt x="149259" y="89524"/>
                    <a:pt x="89308" y="149474"/>
                    <a:pt x="29377" y="209464"/>
                  </a:cubicBezTo>
                  <a:cubicBezTo>
                    <a:pt x="28318" y="210523"/>
                    <a:pt x="27298" y="210955"/>
                    <a:pt x="25828" y="210935"/>
                  </a:cubicBezTo>
                  <a:cubicBezTo>
                    <a:pt x="17944" y="210876"/>
                    <a:pt x="10060" y="210896"/>
                    <a:pt x="2177" y="210896"/>
                  </a:cubicBezTo>
                  <a:lnTo>
                    <a:pt x="0" y="210896"/>
                  </a:lnTo>
                  <a:cubicBezTo>
                    <a:pt x="0" y="209974"/>
                    <a:pt x="0" y="209268"/>
                    <a:pt x="0" y="208562"/>
                  </a:cubicBezTo>
                  <a:cubicBezTo>
                    <a:pt x="216" y="208287"/>
                    <a:pt x="431" y="208013"/>
                    <a:pt x="647" y="207738"/>
                  </a:cubicBezTo>
                  <a:cubicBezTo>
                    <a:pt x="1137" y="207209"/>
                    <a:pt x="1588" y="206679"/>
                    <a:pt x="2098" y="206169"/>
                  </a:cubicBezTo>
                  <a:cubicBezTo>
                    <a:pt x="70285" y="137982"/>
                    <a:pt x="138492" y="69776"/>
                    <a:pt x="206679" y="1588"/>
                  </a:cubicBezTo>
                  <a:cubicBezTo>
                    <a:pt x="207170" y="1098"/>
                    <a:pt x="207621" y="530"/>
                    <a:pt x="208091" y="0"/>
                  </a:cubicBezTo>
                  <a:cubicBezTo>
                    <a:pt x="209013" y="0"/>
                    <a:pt x="209915" y="0"/>
                    <a:pt x="210837" y="0"/>
                  </a:cubicBezTo>
                  <a:lnTo>
                    <a:pt x="210837" y="28181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4B88D0B-EF9F-46D2-85B1-1C58CFB5E4FA}"/>
                </a:ext>
              </a:extLst>
            </p:cNvPr>
            <p:cNvSpPr/>
            <p:nvPr/>
          </p:nvSpPr>
          <p:spPr>
            <a:xfrm>
              <a:off x="10112134" y="3433451"/>
              <a:ext cx="178733" cy="178439"/>
            </a:xfrm>
            <a:custGeom>
              <a:avLst/>
              <a:gdLst>
                <a:gd name="connsiteX0" fmla="*/ 178734 w 178733"/>
                <a:gd name="connsiteY0" fmla="*/ 0 h 178439"/>
                <a:gd name="connsiteX1" fmla="*/ 177479 w 178733"/>
                <a:gd name="connsiteY1" fmla="*/ 1451 h 178439"/>
                <a:gd name="connsiteX2" fmla="*/ 1922 w 178733"/>
                <a:gd name="connsiteY2" fmla="*/ 177008 h 178439"/>
                <a:gd name="connsiteX3" fmla="*/ 333 w 178733"/>
                <a:gd name="connsiteY3" fmla="*/ 178440 h 178439"/>
                <a:gd name="connsiteX4" fmla="*/ 0 w 178733"/>
                <a:gd name="connsiteY4" fmla="*/ 178420 h 178439"/>
                <a:gd name="connsiteX5" fmla="*/ 0 w 178733"/>
                <a:gd name="connsiteY5" fmla="*/ 148710 h 178439"/>
                <a:gd name="connsiteX6" fmla="*/ 706 w 178733"/>
                <a:gd name="connsiteY6" fmla="*/ 147964 h 178439"/>
                <a:gd name="connsiteX7" fmla="*/ 1863 w 178733"/>
                <a:gd name="connsiteY7" fmla="*/ 146945 h 178439"/>
                <a:gd name="connsiteX8" fmla="*/ 147474 w 178733"/>
                <a:gd name="connsiteY8" fmla="*/ 1334 h 178439"/>
                <a:gd name="connsiteX9" fmla="*/ 148592 w 178733"/>
                <a:gd name="connsiteY9" fmla="*/ 20 h 178439"/>
                <a:gd name="connsiteX10" fmla="*/ 178714 w 178733"/>
                <a:gd name="connsiteY10" fmla="*/ 20 h 1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733" h="178439">
                  <a:moveTo>
                    <a:pt x="178734" y="0"/>
                  </a:moveTo>
                  <a:cubicBezTo>
                    <a:pt x="178322" y="490"/>
                    <a:pt x="177930" y="1000"/>
                    <a:pt x="177479" y="1451"/>
                  </a:cubicBezTo>
                  <a:cubicBezTo>
                    <a:pt x="118960" y="59970"/>
                    <a:pt x="60441" y="118489"/>
                    <a:pt x="1922" y="177008"/>
                  </a:cubicBezTo>
                  <a:cubicBezTo>
                    <a:pt x="1412" y="177518"/>
                    <a:pt x="863" y="177969"/>
                    <a:pt x="333" y="178440"/>
                  </a:cubicBezTo>
                  <a:cubicBezTo>
                    <a:pt x="216" y="178440"/>
                    <a:pt x="118" y="178440"/>
                    <a:pt x="0" y="178420"/>
                  </a:cubicBezTo>
                  <a:cubicBezTo>
                    <a:pt x="0" y="168517"/>
                    <a:pt x="0" y="158613"/>
                    <a:pt x="0" y="148710"/>
                  </a:cubicBezTo>
                  <a:cubicBezTo>
                    <a:pt x="235" y="148455"/>
                    <a:pt x="471" y="148219"/>
                    <a:pt x="706" y="147964"/>
                  </a:cubicBezTo>
                  <a:cubicBezTo>
                    <a:pt x="1098" y="147631"/>
                    <a:pt x="1510" y="147298"/>
                    <a:pt x="1863" y="146945"/>
                  </a:cubicBezTo>
                  <a:cubicBezTo>
                    <a:pt x="50400" y="98408"/>
                    <a:pt x="98937" y="49871"/>
                    <a:pt x="147474" y="1334"/>
                  </a:cubicBezTo>
                  <a:cubicBezTo>
                    <a:pt x="147886" y="922"/>
                    <a:pt x="148219" y="451"/>
                    <a:pt x="148592" y="20"/>
                  </a:cubicBezTo>
                  <a:cubicBezTo>
                    <a:pt x="158633" y="20"/>
                    <a:pt x="168673" y="20"/>
                    <a:pt x="178714" y="2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4EB0D75-994F-4554-A4D1-20D8329C9D52}"/>
                </a:ext>
              </a:extLst>
            </p:cNvPr>
            <p:cNvSpPr/>
            <p:nvPr/>
          </p:nvSpPr>
          <p:spPr>
            <a:xfrm>
              <a:off x="10169554" y="3490969"/>
              <a:ext cx="153396" cy="153416"/>
            </a:xfrm>
            <a:custGeom>
              <a:avLst/>
              <a:gdLst>
                <a:gd name="connsiteX0" fmla="*/ 153397 w 153396"/>
                <a:gd name="connsiteY0" fmla="*/ 30515 h 153416"/>
                <a:gd name="connsiteX1" fmla="*/ 151808 w 153396"/>
                <a:gd name="connsiteY1" fmla="*/ 31927 h 153416"/>
                <a:gd name="connsiteX2" fmla="*/ 31946 w 153396"/>
                <a:gd name="connsiteY2" fmla="*/ 151847 h 153416"/>
                <a:gd name="connsiteX3" fmla="*/ 28044 w 153396"/>
                <a:gd name="connsiteY3" fmla="*/ 153416 h 153416"/>
                <a:gd name="connsiteX4" fmla="*/ 0 w 153396"/>
                <a:gd name="connsiteY4" fmla="*/ 153377 h 153416"/>
                <a:gd name="connsiteX5" fmla="*/ 1216 w 153396"/>
                <a:gd name="connsiteY5" fmla="*/ 151985 h 153416"/>
                <a:gd name="connsiteX6" fmla="*/ 152220 w 153396"/>
                <a:gd name="connsiteY6" fmla="*/ 981 h 153416"/>
                <a:gd name="connsiteX7" fmla="*/ 153397 w 153396"/>
                <a:gd name="connsiteY7" fmla="*/ 0 h 153416"/>
                <a:gd name="connsiteX8" fmla="*/ 153397 w 153396"/>
                <a:gd name="connsiteY8" fmla="*/ 30515 h 153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96" h="153416">
                  <a:moveTo>
                    <a:pt x="153397" y="30515"/>
                  </a:moveTo>
                  <a:cubicBezTo>
                    <a:pt x="152867" y="30985"/>
                    <a:pt x="152318" y="31417"/>
                    <a:pt x="151808" y="31927"/>
                  </a:cubicBezTo>
                  <a:cubicBezTo>
                    <a:pt x="111841" y="71894"/>
                    <a:pt x="71874" y="111841"/>
                    <a:pt x="31946" y="151847"/>
                  </a:cubicBezTo>
                  <a:cubicBezTo>
                    <a:pt x="30770" y="153024"/>
                    <a:pt x="29632" y="153436"/>
                    <a:pt x="28044" y="153416"/>
                  </a:cubicBezTo>
                  <a:cubicBezTo>
                    <a:pt x="18787" y="153357"/>
                    <a:pt x="9551" y="153377"/>
                    <a:pt x="0" y="153377"/>
                  </a:cubicBezTo>
                  <a:cubicBezTo>
                    <a:pt x="510" y="152789"/>
                    <a:pt x="843" y="152357"/>
                    <a:pt x="1216" y="151985"/>
                  </a:cubicBezTo>
                  <a:cubicBezTo>
                    <a:pt x="51557" y="101643"/>
                    <a:pt x="101879" y="51322"/>
                    <a:pt x="152220" y="981"/>
                  </a:cubicBezTo>
                  <a:cubicBezTo>
                    <a:pt x="152573" y="628"/>
                    <a:pt x="153004" y="314"/>
                    <a:pt x="153397" y="0"/>
                  </a:cubicBezTo>
                  <a:lnTo>
                    <a:pt x="153397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BD38779-00BB-4AB8-A4DE-0A2AD1D4B557}"/>
                </a:ext>
              </a:extLst>
            </p:cNvPr>
            <p:cNvSpPr/>
            <p:nvPr/>
          </p:nvSpPr>
          <p:spPr>
            <a:xfrm>
              <a:off x="10112114" y="3433451"/>
              <a:ext cx="119273" cy="118606"/>
            </a:xfrm>
            <a:custGeom>
              <a:avLst/>
              <a:gdLst>
                <a:gd name="connsiteX0" fmla="*/ 119274 w 119273"/>
                <a:gd name="connsiteY0" fmla="*/ 0 h 118606"/>
                <a:gd name="connsiteX1" fmla="*/ 118293 w 119273"/>
                <a:gd name="connsiteY1" fmla="*/ 1177 h 118606"/>
                <a:gd name="connsiteX2" fmla="*/ 1765 w 119273"/>
                <a:gd name="connsiteY2" fmla="*/ 117705 h 118606"/>
                <a:gd name="connsiteX3" fmla="*/ 745 w 119273"/>
                <a:gd name="connsiteY3" fmla="*/ 118607 h 118606"/>
                <a:gd name="connsiteX4" fmla="*/ 0 w 119273"/>
                <a:gd name="connsiteY4" fmla="*/ 118175 h 118606"/>
                <a:gd name="connsiteX5" fmla="*/ 0 w 119273"/>
                <a:gd name="connsiteY5" fmla="*/ 89602 h 118606"/>
                <a:gd name="connsiteX6" fmla="*/ 294 w 119273"/>
                <a:gd name="connsiteY6" fmla="*/ 88798 h 118606"/>
                <a:gd name="connsiteX7" fmla="*/ 726 w 119273"/>
                <a:gd name="connsiteY7" fmla="*/ 88092 h 118606"/>
                <a:gd name="connsiteX8" fmla="*/ 1745 w 119273"/>
                <a:gd name="connsiteY8" fmla="*/ 87210 h 118606"/>
                <a:gd name="connsiteX9" fmla="*/ 87759 w 119273"/>
                <a:gd name="connsiteY9" fmla="*/ 1177 h 118606"/>
                <a:gd name="connsiteX10" fmla="*/ 88739 w 119273"/>
                <a:gd name="connsiteY10" fmla="*/ 0 h 118606"/>
                <a:gd name="connsiteX11" fmla="*/ 119254 w 119273"/>
                <a:gd name="connsiteY11" fmla="*/ 0 h 11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273" h="118606">
                  <a:moveTo>
                    <a:pt x="119274" y="0"/>
                  </a:moveTo>
                  <a:cubicBezTo>
                    <a:pt x="118940" y="392"/>
                    <a:pt x="118646" y="824"/>
                    <a:pt x="118293" y="1177"/>
                  </a:cubicBezTo>
                  <a:cubicBezTo>
                    <a:pt x="79463" y="40026"/>
                    <a:pt x="40614" y="78875"/>
                    <a:pt x="1765" y="117705"/>
                  </a:cubicBezTo>
                  <a:cubicBezTo>
                    <a:pt x="1451" y="118018"/>
                    <a:pt x="1079" y="118293"/>
                    <a:pt x="745" y="118607"/>
                  </a:cubicBezTo>
                  <a:cubicBezTo>
                    <a:pt x="490" y="118469"/>
                    <a:pt x="255" y="118313"/>
                    <a:pt x="0" y="118175"/>
                  </a:cubicBezTo>
                  <a:cubicBezTo>
                    <a:pt x="0" y="108644"/>
                    <a:pt x="0" y="99133"/>
                    <a:pt x="0" y="89602"/>
                  </a:cubicBezTo>
                  <a:cubicBezTo>
                    <a:pt x="98" y="89328"/>
                    <a:pt x="196" y="89073"/>
                    <a:pt x="294" y="88798"/>
                  </a:cubicBezTo>
                  <a:cubicBezTo>
                    <a:pt x="431" y="88563"/>
                    <a:pt x="569" y="88328"/>
                    <a:pt x="726" y="88092"/>
                  </a:cubicBezTo>
                  <a:cubicBezTo>
                    <a:pt x="1059" y="87798"/>
                    <a:pt x="1432" y="87523"/>
                    <a:pt x="1745" y="87210"/>
                  </a:cubicBezTo>
                  <a:cubicBezTo>
                    <a:pt x="30417" y="58539"/>
                    <a:pt x="59088" y="29867"/>
                    <a:pt x="87759" y="1177"/>
                  </a:cubicBezTo>
                  <a:cubicBezTo>
                    <a:pt x="88112" y="824"/>
                    <a:pt x="88426" y="392"/>
                    <a:pt x="88739" y="0"/>
                  </a:cubicBezTo>
                  <a:cubicBezTo>
                    <a:pt x="98917" y="0"/>
                    <a:pt x="109095" y="0"/>
                    <a:pt x="119254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62EEE67-1AAE-4466-BA07-EB79FA4B4E55}"/>
                </a:ext>
              </a:extLst>
            </p:cNvPr>
            <p:cNvSpPr/>
            <p:nvPr/>
          </p:nvSpPr>
          <p:spPr>
            <a:xfrm>
              <a:off x="10229427" y="3550842"/>
              <a:ext cx="93524" cy="93525"/>
            </a:xfrm>
            <a:custGeom>
              <a:avLst/>
              <a:gdLst>
                <a:gd name="connsiteX0" fmla="*/ 93524 w 93524"/>
                <a:gd name="connsiteY0" fmla="*/ 30515 h 93525"/>
                <a:gd name="connsiteX1" fmla="*/ 91936 w 93524"/>
                <a:gd name="connsiteY1" fmla="*/ 31927 h 93525"/>
                <a:gd name="connsiteX2" fmla="*/ 31809 w 93524"/>
                <a:gd name="connsiteY2" fmla="*/ 92093 h 93525"/>
                <a:gd name="connsiteX3" fmla="*/ 28240 w 93524"/>
                <a:gd name="connsiteY3" fmla="*/ 93524 h 93525"/>
                <a:gd name="connsiteX4" fmla="*/ 0 w 93524"/>
                <a:gd name="connsiteY4" fmla="*/ 93505 h 93525"/>
                <a:gd name="connsiteX5" fmla="*/ 941 w 93524"/>
                <a:gd name="connsiteY5" fmla="*/ 92387 h 93525"/>
                <a:gd name="connsiteX6" fmla="*/ 92622 w 93524"/>
                <a:gd name="connsiteY6" fmla="*/ 706 h 93525"/>
                <a:gd name="connsiteX7" fmla="*/ 93524 w 93524"/>
                <a:gd name="connsiteY7" fmla="*/ 0 h 93525"/>
                <a:gd name="connsiteX8" fmla="*/ 93524 w 93524"/>
                <a:gd name="connsiteY8" fmla="*/ 30515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524" h="93525">
                  <a:moveTo>
                    <a:pt x="93524" y="30515"/>
                  </a:moveTo>
                  <a:cubicBezTo>
                    <a:pt x="92995" y="30985"/>
                    <a:pt x="92446" y="31417"/>
                    <a:pt x="91936" y="31927"/>
                  </a:cubicBezTo>
                  <a:cubicBezTo>
                    <a:pt x="71874" y="51969"/>
                    <a:pt x="51812" y="72011"/>
                    <a:pt x="31809" y="92093"/>
                  </a:cubicBezTo>
                  <a:cubicBezTo>
                    <a:pt x="30750" y="93152"/>
                    <a:pt x="29711" y="93544"/>
                    <a:pt x="28240" y="93524"/>
                  </a:cubicBezTo>
                  <a:cubicBezTo>
                    <a:pt x="18925" y="93466"/>
                    <a:pt x="9609" y="93505"/>
                    <a:pt x="0" y="93505"/>
                  </a:cubicBezTo>
                  <a:cubicBezTo>
                    <a:pt x="412" y="93015"/>
                    <a:pt x="647" y="92662"/>
                    <a:pt x="941" y="92387"/>
                  </a:cubicBezTo>
                  <a:cubicBezTo>
                    <a:pt x="31495" y="61814"/>
                    <a:pt x="62069" y="31260"/>
                    <a:pt x="92622" y="706"/>
                  </a:cubicBezTo>
                  <a:cubicBezTo>
                    <a:pt x="92897" y="431"/>
                    <a:pt x="93230" y="235"/>
                    <a:pt x="93524" y="0"/>
                  </a:cubicBezTo>
                  <a:lnTo>
                    <a:pt x="93524" y="30515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52697C0-7AEC-432F-BAF6-2C6E9165AAA1}"/>
                </a:ext>
              </a:extLst>
            </p:cNvPr>
            <p:cNvSpPr/>
            <p:nvPr/>
          </p:nvSpPr>
          <p:spPr>
            <a:xfrm>
              <a:off x="10112153" y="3433451"/>
              <a:ext cx="59401" cy="58734"/>
            </a:xfrm>
            <a:custGeom>
              <a:avLst/>
              <a:gdLst>
                <a:gd name="connsiteX0" fmla="*/ 59382 w 59401"/>
                <a:gd name="connsiteY0" fmla="*/ 0 h 58734"/>
                <a:gd name="connsiteX1" fmla="*/ 58539 w 59401"/>
                <a:gd name="connsiteY1" fmla="*/ 1039 h 58734"/>
                <a:gd name="connsiteX2" fmla="*/ 1471 w 59401"/>
                <a:gd name="connsiteY2" fmla="*/ 58107 h 58734"/>
                <a:gd name="connsiteX3" fmla="*/ 745 w 59401"/>
                <a:gd name="connsiteY3" fmla="*/ 58735 h 58734"/>
                <a:gd name="connsiteX4" fmla="*/ 0 w 59401"/>
                <a:gd name="connsiteY4" fmla="*/ 58303 h 58734"/>
                <a:gd name="connsiteX5" fmla="*/ 0 w 59401"/>
                <a:gd name="connsiteY5" fmla="*/ 29338 h 58734"/>
                <a:gd name="connsiteX6" fmla="*/ 628 w 59401"/>
                <a:gd name="connsiteY6" fmla="*/ 28553 h 58734"/>
                <a:gd name="connsiteX7" fmla="*/ 26102 w 59401"/>
                <a:gd name="connsiteY7" fmla="*/ 2961 h 58734"/>
                <a:gd name="connsiteX8" fmla="*/ 28887 w 59401"/>
                <a:gd name="connsiteY8" fmla="*/ 0 h 58734"/>
                <a:gd name="connsiteX9" fmla="*/ 59401 w 59401"/>
                <a:gd name="connsiteY9" fmla="*/ 0 h 58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01" h="58734">
                  <a:moveTo>
                    <a:pt x="59382" y="0"/>
                  </a:moveTo>
                  <a:cubicBezTo>
                    <a:pt x="59107" y="353"/>
                    <a:pt x="58852" y="726"/>
                    <a:pt x="58539" y="1039"/>
                  </a:cubicBezTo>
                  <a:cubicBezTo>
                    <a:pt x="39516" y="20062"/>
                    <a:pt x="20493" y="39085"/>
                    <a:pt x="1471" y="58107"/>
                  </a:cubicBezTo>
                  <a:cubicBezTo>
                    <a:pt x="1235" y="58342"/>
                    <a:pt x="981" y="58519"/>
                    <a:pt x="745" y="58735"/>
                  </a:cubicBezTo>
                  <a:cubicBezTo>
                    <a:pt x="490" y="58597"/>
                    <a:pt x="255" y="58441"/>
                    <a:pt x="0" y="58303"/>
                  </a:cubicBezTo>
                  <a:cubicBezTo>
                    <a:pt x="0" y="48655"/>
                    <a:pt x="0" y="38986"/>
                    <a:pt x="0" y="29338"/>
                  </a:cubicBezTo>
                  <a:cubicBezTo>
                    <a:pt x="216" y="29083"/>
                    <a:pt x="412" y="28808"/>
                    <a:pt x="628" y="28553"/>
                  </a:cubicBezTo>
                  <a:cubicBezTo>
                    <a:pt x="9119" y="20023"/>
                    <a:pt x="17611" y="11492"/>
                    <a:pt x="26102" y="2961"/>
                  </a:cubicBezTo>
                  <a:cubicBezTo>
                    <a:pt x="27063" y="2000"/>
                    <a:pt x="27965" y="981"/>
                    <a:pt x="28887" y="0"/>
                  </a:cubicBezTo>
                  <a:cubicBezTo>
                    <a:pt x="39065" y="0"/>
                    <a:pt x="49243" y="0"/>
                    <a:pt x="59401" y="0"/>
                  </a:cubicBez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B9E777-3D6F-4D78-92A5-ACF49864BC2C}"/>
                </a:ext>
              </a:extLst>
            </p:cNvPr>
            <p:cNvSpPr/>
            <p:nvPr/>
          </p:nvSpPr>
          <p:spPr>
            <a:xfrm>
              <a:off x="10289220" y="3610694"/>
              <a:ext cx="33730" cy="33652"/>
            </a:xfrm>
            <a:custGeom>
              <a:avLst/>
              <a:gdLst>
                <a:gd name="connsiteX0" fmla="*/ 33731 w 33730"/>
                <a:gd name="connsiteY0" fmla="*/ 33652 h 33652"/>
                <a:gd name="connsiteX1" fmla="*/ 0 w 33730"/>
                <a:gd name="connsiteY1" fmla="*/ 33652 h 33652"/>
                <a:gd name="connsiteX2" fmla="*/ 902 w 33730"/>
                <a:gd name="connsiteY2" fmla="*/ 32633 h 33652"/>
                <a:gd name="connsiteX3" fmla="*/ 32829 w 33730"/>
                <a:gd name="connsiteY3" fmla="*/ 706 h 33652"/>
                <a:gd name="connsiteX4" fmla="*/ 33731 w 33730"/>
                <a:gd name="connsiteY4" fmla="*/ 0 h 33652"/>
                <a:gd name="connsiteX5" fmla="*/ 33731 w 33730"/>
                <a:gd name="connsiteY5" fmla="*/ 33652 h 33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0" h="33652">
                  <a:moveTo>
                    <a:pt x="33731" y="33652"/>
                  </a:moveTo>
                  <a:lnTo>
                    <a:pt x="0" y="33652"/>
                  </a:lnTo>
                  <a:cubicBezTo>
                    <a:pt x="431" y="33162"/>
                    <a:pt x="647" y="32887"/>
                    <a:pt x="902" y="32633"/>
                  </a:cubicBezTo>
                  <a:cubicBezTo>
                    <a:pt x="11551" y="21984"/>
                    <a:pt x="22180" y="11335"/>
                    <a:pt x="32829" y="706"/>
                  </a:cubicBezTo>
                  <a:cubicBezTo>
                    <a:pt x="33103" y="431"/>
                    <a:pt x="33417" y="235"/>
                    <a:pt x="33731" y="0"/>
                  </a:cubicBezTo>
                  <a:lnTo>
                    <a:pt x="33731" y="33652"/>
                  </a:lnTo>
                  <a:close/>
                </a:path>
              </a:pathLst>
            </a:custGeom>
            <a:grpFill/>
            <a:ln w="50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C4326689-E818-4C0F-9629-48888EB50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77481" y="3111038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39DCE2E-03C5-4FA3-B180-650437D890F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C4326689-E818-4C0F-9629-48888EB50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6009" y="3111038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39DCE2E-03C5-4FA3-B180-650437D890F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E8E801D-0741-42CC-9678-5C25BBDFCE2B}"/>
              </a:ext>
            </a:extLst>
          </p:cNvPr>
          <p:cNvSpPr/>
          <p:nvPr/>
        </p:nvSpPr>
        <p:spPr>
          <a:xfrm rot="18900000">
            <a:off x="1066566" y="2694723"/>
            <a:ext cx="4605028" cy="4605029"/>
          </a:xfrm>
          <a:custGeom>
            <a:avLst/>
            <a:gdLst>
              <a:gd name="connsiteX0" fmla="*/ 4605028 w 4605028"/>
              <a:gd name="connsiteY0" fmla="*/ 0 h 4605029"/>
              <a:gd name="connsiteX1" fmla="*/ 4605028 w 4605028"/>
              <a:gd name="connsiteY1" fmla="*/ 4605029 h 4605029"/>
              <a:gd name="connsiteX2" fmla="*/ 1973513 w 4605028"/>
              <a:gd name="connsiteY2" fmla="*/ 4605029 h 4605029"/>
              <a:gd name="connsiteX3" fmla="*/ 0 w 4605028"/>
              <a:gd name="connsiteY3" fmla="*/ 2631517 h 4605029"/>
              <a:gd name="connsiteX4" fmla="*/ 0 w 4605028"/>
              <a:gd name="connsiteY4" fmla="*/ 0 h 4605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5028" h="4605029">
                <a:moveTo>
                  <a:pt x="4605028" y="0"/>
                </a:moveTo>
                <a:lnTo>
                  <a:pt x="4605028" y="4605029"/>
                </a:lnTo>
                <a:lnTo>
                  <a:pt x="1973513" y="4605029"/>
                </a:lnTo>
                <a:lnTo>
                  <a:pt x="0" y="2631517"/>
                </a:lnTo>
                <a:lnTo>
                  <a:pt x="0" y="0"/>
                </a:lnTo>
                <a:close/>
              </a:path>
            </a:pathLst>
          </a:custGeom>
          <a:solidFill>
            <a:srgbClr val="191918"/>
          </a:solidFill>
          <a:ln w="1074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B206A834-F339-4111-B306-A75261D61781}"/>
              </a:ext>
            </a:extLst>
          </p:cNvPr>
          <p:cNvSpPr/>
          <p:nvPr/>
        </p:nvSpPr>
        <p:spPr>
          <a:xfrm rot="18900000">
            <a:off x="1539771" y="2150263"/>
            <a:ext cx="3658641" cy="3658640"/>
          </a:xfrm>
          <a:custGeom>
            <a:avLst/>
            <a:gdLst>
              <a:gd name="connsiteX0" fmla="*/ 0 w 4048852"/>
              <a:gd name="connsiteY0" fmla="*/ 0 h 4048852"/>
              <a:gd name="connsiteX1" fmla="*/ 4048853 w 4048852"/>
              <a:gd name="connsiteY1" fmla="*/ 0 h 4048852"/>
              <a:gd name="connsiteX2" fmla="*/ 4048853 w 4048852"/>
              <a:gd name="connsiteY2" fmla="*/ 4048853 h 4048852"/>
              <a:gd name="connsiteX3" fmla="*/ 0 w 4048852"/>
              <a:gd name="connsiteY3" fmla="*/ 4048853 h 4048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8852" h="4048852">
                <a:moveTo>
                  <a:pt x="0" y="0"/>
                </a:moveTo>
                <a:lnTo>
                  <a:pt x="4048853" y="0"/>
                </a:lnTo>
                <a:lnTo>
                  <a:pt x="4048853" y="4048853"/>
                </a:lnTo>
                <a:lnTo>
                  <a:pt x="0" y="4048853"/>
                </a:lnTo>
                <a:close/>
              </a:path>
            </a:pathLst>
          </a:custGeom>
          <a:solidFill>
            <a:srgbClr val="292928"/>
          </a:solidFill>
          <a:ln w="107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82463D7B-A588-4825-8DB4-62925DFE72E0}"/>
              </a:ext>
            </a:extLst>
          </p:cNvPr>
          <p:cNvSpPr/>
          <p:nvPr/>
        </p:nvSpPr>
        <p:spPr>
          <a:xfrm rot="18900000">
            <a:off x="2013005" y="1605635"/>
            <a:ext cx="2712254" cy="2712254"/>
          </a:xfrm>
          <a:custGeom>
            <a:avLst/>
            <a:gdLst>
              <a:gd name="connsiteX0" fmla="*/ 0 w 3001529"/>
              <a:gd name="connsiteY0" fmla="*/ 0 h 3001529"/>
              <a:gd name="connsiteX1" fmla="*/ 3001530 w 3001529"/>
              <a:gd name="connsiteY1" fmla="*/ 0 h 3001529"/>
              <a:gd name="connsiteX2" fmla="*/ 3001530 w 3001529"/>
              <a:gd name="connsiteY2" fmla="*/ 3001530 h 3001529"/>
              <a:gd name="connsiteX3" fmla="*/ 0 w 3001529"/>
              <a:gd name="connsiteY3" fmla="*/ 3001530 h 300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01529" h="3001529">
                <a:moveTo>
                  <a:pt x="0" y="0"/>
                </a:moveTo>
                <a:lnTo>
                  <a:pt x="3001530" y="0"/>
                </a:lnTo>
                <a:lnTo>
                  <a:pt x="3001530" y="3001530"/>
                </a:lnTo>
                <a:lnTo>
                  <a:pt x="0" y="3001530"/>
                </a:lnTo>
                <a:close/>
              </a:path>
            </a:pathLst>
          </a:custGeom>
          <a:solidFill>
            <a:srgbClr val="393939"/>
          </a:solidFill>
          <a:ln w="107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5394A997-FD47-4568-A864-C577C5230035}"/>
              </a:ext>
            </a:extLst>
          </p:cNvPr>
          <p:cNvSpPr/>
          <p:nvPr userDrawn="1"/>
        </p:nvSpPr>
        <p:spPr>
          <a:xfrm rot="18900000">
            <a:off x="2486192" y="1061223"/>
            <a:ext cx="1765770" cy="1765771"/>
          </a:xfrm>
          <a:custGeom>
            <a:avLst/>
            <a:gdLst>
              <a:gd name="connsiteX0" fmla="*/ 0 w 1954098"/>
              <a:gd name="connsiteY0" fmla="*/ 0 h 1954099"/>
              <a:gd name="connsiteX1" fmla="*/ 1954099 w 1954098"/>
              <a:gd name="connsiteY1" fmla="*/ 0 h 1954099"/>
              <a:gd name="connsiteX2" fmla="*/ 1954099 w 1954098"/>
              <a:gd name="connsiteY2" fmla="*/ 1954099 h 1954099"/>
              <a:gd name="connsiteX3" fmla="*/ 0 w 1954098"/>
              <a:gd name="connsiteY3" fmla="*/ 1954099 h 1954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098" h="1954099">
                <a:moveTo>
                  <a:pt x="0" y="0"/>
                </a:moveTo>
                <a:lnTo>
                  <a:pt x="1954099" y="0"/>
                </a:lnTo>
                <a:lnTo>
                  <a:pt x="1954099" y="1954099"/>
                </a:lnTo>
                <a:lnTo>
                  <a:pt x="0" y="1954099"/>
                </a:lnTo>
                <a:close/>
              </a:path>
            </a:pathLst>
          </a:custGeom>
          <a:solidFill>
            <a:srgbClr val="494949"/>
          </a:solidFill>
          <a:ln w="1074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Slide Number">
            <a:extLst>
              <a:ext uri="{FF2B5EF4-FFF2-40B4-BE49-F238E27FC236}">
                <a16:creationId xmlns:a16="http://schemas.microsoft.com/office/drawing/2014/main" id="{E53590EB-550E-484D-9C2B-86884E8FD0D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74D3F7D-4469-4B5C-9F11-8B6FE97CAE6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817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hank you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07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E523C890-90AA-49DD-A3E8-75AD9186C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50000"/>
          <a:stretch/>
        </p:blipFill>
        <p:spPr>
          <a:xfrm>
            <a:off x="328246" y="1090246"/>
            <a:ext cx="11535508" cy="5767754"/>
          </a:xfrm>
          <a:prstGeom prst="rect">
            <a:avLst/>
          </a:prstGeom>
        </p:spPr>
      </p:pic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C4326689-E818-4C0F-9629-48888EB50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77481" y="1616067"/>
            <a:ext cx="4237038" cy="635924"/>
          </a:xfrm>
        </p:spPr>
        <p:txBody>
          <a:bodyPr anchor="ctr"/>
          <a:lstStyle>
            <a:lvl1pPr algn="ctr">
              <a:defRPr sz="4000">
                <a:latin typeface="Inter Black" panose="02000503000000020004" pitchFamily="2" charset="0"/>
                <a:ea typeface="Inter Black" panose="02000503000000020004" pitchFamily="2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39DCE2E-03C5-4FA3-B180-650437D890F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  <p:sp>
        <p:nvSpPr>
          <p:cNvPr id="62" name="Slide Number">
            <a:extLst>
              <a:ext uri="{FF2B5EF4-FFF2-40B4-BE49-F238E27FC236}">
                <a16:creationId xmlns:a16="http://schemas.microsoft.com/office/drawing/2014/main" id="{E53590EB-550E-484D-9C2B-86884E8FD0D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  <a:sym typeface="Inter" panose="02000503000000020004" pitchFamily="2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  <a:sym typeface="Inter" panose="02000503000000020004" pitchFamily="2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74D3F7D-4469-4B5C-9F11-8B6FE97CAE6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529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584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6DE80B5-D1A2-48F9-9451-0BD5BED4FC06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99741" y="2915712"/>
            <a:ext cx="792518" cy="102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14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88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E9397FD-72E6-40CC-BFFD-908DF6E9E89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70000"/>
          </a:blip>
          <a:stretch>
            <a:fillRect/>
          </a:stretch>
        </p:blipFill>
        <p:spPr>
          <a:xfrm>
            <a:off x="7101399" y="907788"/>
            <a:ext cx="5090601" cy="5950212"/>
          </a:xfrm>
          <a:prstGeom prst="rect">
            <a:avLst/>
          </a:prstGeom>
        </p:spPr>
      </p:pic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27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70E502F-EDED-4AEA-A155-900A96CCAF0C}"/>
              </a:ext>
            </a:extLst>
          </p:cNvPr>
          <p:cNvGrpSpPr/>
          <p:nvPr userDrawn="1"/>
        </p:nvGrpSpPr>
        <p:grpSpPr>
          <a:xfrm flipH="1">
            <a:off x="10136251" y="0"/>
            <a:ext cx="2715506" cy="7124748"/>
            <a:chOff x="-660564" y="0"/>
            <a:chExt cx="2715506" cy="7124748"/>
          </a:xfrm>
        </p:grpSpPr>
        <p:sp>
          <p:nvSpPr>
            <p:cNvPr id="11" name="타원 59">
              <a:extLst>
                <a:ext uri="{FF2B5EF4-FFF2-40B4-BE49-F238E27FC236}">
                  <a16:creationId xmlns:a16="http://schemas.microsoft.com/office/drawing/2014/main" id="{E8F7B00A-E19A-4E44-9B46-B74B8CFCEDB9}"/>
                </a:ext>
              </a:extLst>
            </p:cNvPr>
            <p:cNvSpPr/>
            <p:nvPr userDrawn="1"/>
          </p:nvSpPr>
          <p:spPr>
            <a:xfrm rot="17404054" flipH="1">
              <a:off x="129253" y="2149292"/>
              <a:ext cx="915338" cy="915338"/>
            </a:xfrm>
            <a:prstGeom prst="rect">
              <a:avLst/>
            </a:prstGeom>
            <a:solidFill>
              <a:srgbClr val="FFC900"/>
            </a:solidFill>
            <a:ln w="57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B7339C48-48E0-4E58-A8BC-D93A11EBEF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6200000">
              <a:off x="0" y="0"/>
              <a:ext cx="2054942" cy="2054942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098B5F9-896C-4C0B-9DA9-EAE2713D02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4054244">
              <a:off x="161949" y="4489357"/>
              <a:ext cx="1041083" cy="1046965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62705A7-FF8B-49AF-A9AA-9E64290E0540}"/>
                </a:ext>
              </a:extLst>
            </p:cNvPr>
            <p:cNvGrpSpPr/>
            <p:nvPr userDrawn="1"/>
          </p:nvGrpSpPr>
          <p:grpSpPr>
            <a:xfrm>
              <a:off x="0" y="3155019"/>
              <a:ext cx="1280160" cy="1280160"/>
              <a:chOff x="0" y="3174683"/>
              <a:chExt cx="879158" cy="879158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140D07-B683-4551-834A-DD3056F37CF6}"/>
                  </a:ext>
                </a:extLst>
              </p:cNvPr>
              <p:cNvSpPr/>
              <p:nvPr/>
            </p:nvSpPr>
            <p:spPr>
              <a:xfrm>
                <a:off x="0" y="3174683"/>
                <a:ext cx="879158" cy="879158"/>
              </a:xfrm>
              <a:custGeom>
                <a:avLst/>
                <a:gdLst>
                  <a:gd name="connsiteX0" fmla="*/ 879158 w 879158"/>
                  <a:gd name="connsiteY0" fmla="*/ 439579 h 879158"/>
                  <a:gd name="connsiteX1" fmla="*/ 439579 w 879158"/>
                  <a:gd name="connsiteY1" fmla="*/ 879158 h 879158"/>
                  <a:gd name="connsiteX2" fmla="*/ 0 w 879158"/>
                  <a:gd name="connsiteY2" fmla="*/ 439579 h 879158"/>
                  <a:gd name="connsiteX3" fmla="*/ 439579 w 879158"/>
                  <a:gd name="connsiteY3" fmla="*/ 0 h 879158"/>
                  <a:gd name="connsiteX4" fmla="*/ 879158 w 879158"/>
                  <a:gd name="connsiteY4" fmla="*/ 439579 h 87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9158" h="879158">
                    <a:moveTo>
                      <a:pt x="879158" y="439579"/>
                    </a:moveTo>
                    <a:cubicBezTo>
                      <a:pt x="879158" y="682352"/>
                      <a:pt x="682352" y="879158"/>
                      <a:pt x="439579" y="879158"/>
                    </a:cubicBezTo>
                    <a:cubicBezTo>
                      <a:pt x="196806" y="879158"/>
                      <a:pt x="0" y="682352"/>
                      <a:pt x="0" y="439579"/>
                    </a:cubicBezTo>
                    <a:cubicBezTo>
                      <a:pt x="0" y="196806"/>
                      <a:pt x="196806" y="0"/>
                      <a:pt x="439579" y="0"/>
                    </a:cubicBezTo>
                    <a:cubicBezTo>
                      <a:pt x="682352" y="0"/>
                      <a:pt x="879158" y="196806"/>
                      <a:pt x="879158" y="439579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4EBD521-50FB-47E4-AF8D-1DB809622A33}"/>
                  </a:ext>
                </a:extLst>
              </p:cNvPr>
              <p:cNvSpPr/>
              <p:nvPr/>
            </p:nvSpPr>
            <p:spPr>
              <a:xfrm rot="18900000">
                <a:off x="307523" y="3482187"/>
                <a:ext cx="264149" cy="264149"/>
              </a:xfrm>
              <a:custGeom>
                <a:avLst/>
                <a:gdLst>
                  <a:gd name="connsiteX0" fmla="*/ 0 w 264149"/>
                  <a:gd name="connsiteY0" fmla="*/ 0 h 264149"/>
                  <a:gd name="connsiteX1" fmla="*/ 264149 w 264149"/>
                  <a:gd name="connsiteY1" fmla="*/ 0 h 264149"/>
                  <a:gd name="connsiteX2" fmla="*/ 264149 w 264149"/>
                  <a:gd name="connsiteY2" fmla="*/ 264149 h 264149"/>
                  <a:gd name="connsiteX3" fmla="*/ 0 w 264149"/>
                  <a:gd name="connsiteY3" fmla="*/ 264149 h 2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149" h="264149">
                    <a:moveTo>
                      <a:pt x="0" y="0"/>
                    </a:moveTo>
                    <a:lnTo>
                      <a:pt x="264149" y="0"/>
                    </a:lnTo>
                    <a:lnTo>
                      <a:pt x="264149" y="264149"/>
                    </a:lnTo>
                    <a:lnTo>
                      <a:pt x="0" y="264149"/>
                    </a:lnTo>
                    <a:close/>
                  </a:path>
                </a:pathLst>
              </a:custGeom>
              <a:solidFill>
                <a:schemeClr val="bg1"/>
              </a:solidFill>
              <a:ln w="5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85861C4-AFAC-41D0-A9CC-75CBDD24984B}"/>
                </a:ext>
              </a:extLst>
            </p:cNvPr>
            <p:cNvSpPr/>
            <p:nvPr userDrawn="1"/>
          </p:nvSpPr>
          <p:spPr>
            <a:xfrm rot="2427733" flipH="1">
              <a:off x="-660564" y="5972800"/>
              <a:ext cx="2333104" cy="1151948"/>
            </a:xfrm>
            <a:custGeom>
              <a:avLst/>
              <a:gdLst>
                <a:gd name="connsiteX0" fmla="*/ 5953001 w 5953001"/>
                <a:gd name="connsiteY0" fmla="*/ 0 h 2939238"/>
                <a:gd name="connsiteX1" fmla="*/ 3446004 w 5953001"/>
                <a:gd name="connsiteY1" fmla="*/ 2939238 h 2939238"/>
                <a:gd name="connsiteX2" fmla="*/ 0 w 5953001"/>
                <a:gd name="connsiteY2" fmla="*/ 0 h 293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53001" h="2939238">
                  <a:moveTo>
                    <a:pt x="5953001" y="0"/>
                  </a:moveTo>
                  <a:lnTo>
                    <a:pt x="3446004" y="29392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20257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906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884A896D-18B5-4732-A04A-2CF76840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62200" t="27200" b="27800"/>
          <a:stretch/>
        </p:blipFill>
        <p:spPr>
          <a:xfrm>
            <a:off x="0" y="0"/>
            <a:ext cx="576072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8B1FEB9-DCB7-4B73-A384-BD2DAFB665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875003"/>
            <a:ext cx="5065776" cy="1107996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 sz="3600"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zh-CN" dirty="0"/>
              <a:t>Click to edit </a:t>
            </a:r>
            <a:br>
              <a:rPr lang="en-US" altLang="zh-CN" dirty="0"/>
            </a:br>
            <a:r>
              <a:rPr lang="en-US" altLang="zh-CN" dirty="0"/>
              <a:t>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7113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61435" y="7876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9A71EC7-36DC-42BB-8EAA-8D27F8C5CEEE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5.xml"/><Relationship Id="rId47" Type="http://schemas.openxmlformats.org/officeDocument/2006/relationships/tags" Target="../tags/tag10.xml"/><Relationship Id="rId50" Type="http://schemas.openxmlformats.org/officeDocument/2006/relationships/tags" Target="../tags/tag13.xml"/><Relationship Id="rId55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3.xml"/><Relationship Id="rId45" Type="http://schemas.openxmlformats.org/officeDocument/2006/relationships/tags" Target="../tags/tag8.xml"/><Relationship Id="rId53" Type="http://schemas.openxmlformats.org/officeDocument/2006/relationships/tags" Target="../tags/tag16.xml"/><Relationship Id="rId58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6.xml"/><Relationship Id="rId48" Type="http://schemas.openxmlformats.org/officeDocument/2006/relationships/tags" Target="../tags/tag11.xml"/><Relationship Id="rId56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46" Type="http://schemas.openxmlformats.org/officeDocument/2006/relationships/tags" Target="../tags/tag9.xml"/><Relationship Id="rId59" Type="http://schemas.openxmlformats.org/officeDocument/2006/relationships/tags" Target="../tags/tag2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4.xml"/><Relationship Id="rId54" Type="http://schemas.openxmlformats.org/officeDocument/2006/relationships/tags" Target="../tags/tag17.xml"/><Relationship Id="rId6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2.xml"/><Relationship Id="rId57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7.xml"/><Relationship Id="rId52" Type="http://schemas.openxmlformats.org/officeDocument/2006/relationships/tags" Target="../tags/tag15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tags" Target="../tags/tag240.xml"/><Relationship Id="rId21" Type="http://schemas.openxmlformats.org/officeDocument/2006/relationships/slideLayout" Target="../slideLayouts/slideLayout58.xml"/><Relationship Id="rId34" Type="http://schemas.openxmlformats.org/officeDocument/2006/relationships/tags" Target="../tags/tag235.xml"/><Relationship Id="rId42" Type="http://schemas.openxmlformats.org/officeDocument/2006/relationships/tags" Target="../tags/tag243.xml"/><Relationship Id="rId47" Type="http://schemas.openxmlformats.org/officeDocument/2006/relationships/tags" Target="../tags/tag248.xml"/><Relationship Id="rId50" Type="http://schemas.openxmlformats.org/officeDocument/2006/relationships/tags" Target="../tags/tag251.xml"/><Relationship Id="rId55" Type="http://schemas.openxmlformats.org/officeDocument/2006/relationships/image" Target="../media/image5.png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tags" Target="../tags/tag233.xml"/><Relationship Id="rId37" Type="http://schemas.openxmlformats.org/officeDocument/2006/relationships/tags" Target="../tags/tag238.xml"/><Relationship Id="rId40" Type="http://schemas.openxmlformats.org/officeDocument/2006/relationships/tags" Target="../tags/tag241.xml"/><Relationship Id="rId45" Type="http://schemas.openxmlformats.org/officeDocument/2006/relationships/tags" Target="../tags/tag246.xml"/><Relationship Id="rId53" Type="http://schemas.openxmlformats.org/officeDocument/2006/relationships/oleObject" Target="../embeddings/oleObject33.bin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theme" Target="../theme/theme2.xml"/><Relationship Id="rId44" Type="http://schemas.openxmlformats.org/officeDocument/2006/relationships/tags" Target="../tags/tag245.xml"/><Relationship Id="rId52" Type="http://schemas.openxmlformats.org/officeDocument/2006/relationships/tags" Target="../tags/tag25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tags" Target="../tags/tag236.xml"/><Relationship Id="rId43" Type="http://schemas.openxmlformats.org/officeDocument/2006/relationships/tags" Target="../tags/tag244.xml"/><Relationship Id="rId48" Type="http://schemas.openxmlformats.org/officeDocument/2006/relationships/tags" Target="../tags/tag249.xml"/><Relationship Id="rId8" Type="http://schemas.openxmlformats.org/officeDocument/2006/relationships/slideLayout" Target="../slideLayouts/slideLayout45.xml"/><Relationship Id="rId51" Type="http://schemas.openxmlformats.org/officeDocument/2006/relationships/tags" Target="../tags/tag252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tags" Target="../tags/tag234.xml"/><Relationship Id="rId38" Type="http://schemas.openxmlformats.org/officeDocument/2006/relationships/tags" Target="../tags/tag239.xml"/><Relationship Id="rId46" Type="http://schemas.openxmlformats.org/officeDocument/2006/relationships/tags" Target="../tags/tag247.xml"/><Relationship Id="rId20" Type="http://schemas.openxmlformats.org/officeDocument/2006/relationships/slideLayout" Target="../slideLayouts/slideLayout57.xml"/><Relationship Id="rId41" Type="http://schemas.openxmlformats.org/officeDocument/2006/relationships/tags" Target="../tags/tag242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tags" Target="../tags/tag237.xml"/><Relationship Id="rId49" Type="http://schemas.openxmlformats.org/officeDocument/2006/relationships/tags" Target="../tags/tag2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57987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13" imgH="416" progId="TCLayout.ActiveDocument.1">
                  <p:embed/>
                </p:oleObj>
              </mc:Choice>
              <mc:Fallback>
                <p:oleObj name="think-cell Slide" r:id="rId6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9" name="Grid" hidden="1">
            <a:extLst>
              <a:ext uri="{FF2B5EF4-FFF2-40B4-BE49-F238E27FC236}">
                <a16:creationId xmlns:a16="http://schemas.microsoft.com/office/drawing/2014/main" id="{5B9CAEB1-930F-4204-9193-F117E450F58F}"/>
              </a:ext>
            </a:extLst>
          </p:cNvPr>
          <p:cNvGrpSpPr/>
          <p:nvPr userDrawn="1">
            <p:custDataLst>
              <p:tags r:id="rId4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150" name="slide margin">
              <a:extLst>
                <a:ext uri="{FF2B5EF4-FFF2-40B4-BE49-F238E27FC236}">
                  <a16:creationId xmlns:a16="http://schemas.microsoft.com/office/drawing/2014/main" id="{3F0BE4FC-BE28-42AC-9150-3030FAC10FE2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9E7EA715-A54C-42B2-A5CE-F7C63685B883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05999042-5339-4DF9-810A-F438F9C18A0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6DA7DE0B-EBD0-4192-91DF-A08A4D9E2D34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D4C8EDC3-7A56-4F1E-88BC-2027171BE08D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6023D389-45F7-42CD-9451-A74602B1FD9C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556F1978-8B31-42FD-A8B8-74E70208406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20D188E5-96D5-4EEF-924C-5E1D87B5FBB3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21617576-BDB8-4318-9293-D2E0F8CB1E2E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C228CC41-8B31-442B-8DDF-B6AF2BE65C3A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6EE250E7-864E-4FA8-9D00-1FA1DFCECAD4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8FC6C324-7EE4-4078-ACD0-3414CC2F2149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B08E5D64-2F11-49AD-9186-0187069D0F6D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8FF76357-509C-4408-83A0-C5EBB4D65420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3C116A53-3A84-4770-9FDC-7121451C00F5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7F48644-FAA9-46BE-B711-B8D0F8087829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A403D7F2-A7A4-45A4-874F-231120711288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141BA40D-878C-438B-9FF3-AD895322DE8F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1FD1532-DA25-4AF6-A2B7-44BA147FFDEE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6F7A25D-5778-4E04-A1DC-D0DF6A5C04CC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A8F07509-71EB-4991-BA62-67A1404A7CBD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AFA6F06-58D9-498E-9F10-8C546C04992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FFB6707B-12C7-47FE-A772-80BFD4DF69D4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3F055868-79CC-460B-94B4-D1FF13C2C5E6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C0183825-A5A2-44BF-B2DE-0BC7707FB2DB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9D75881A-F434-49C5-9344-697E6C0785C6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09788529-8E8D-4562-9272-7E79C3DA90EE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12F1F7C9-3D81-4137-A89E-FCD10E41458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48DF50E4-99F3-4D0A-B799-2CCF48222C68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8411368-C731-4D24-8604-9559DD800072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7D39B7FC-72D9-4ECB-992C-5C291FF071F2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8EB03E80-8FB3-48B7-A6F7-501724172BBC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A1B27DF-FA30-4400-84B0-55CE8F40776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1BCD2177-1AB6-40A0-B1FE-F1C99F2DED47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B235DD5-1E78-47BE-BEC2-CD8C0FB0883A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D9AD1C9-8923-47C6-89A6-BBEEA71AB44C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86764B1-B54E-40E0-991F-0A7826E68C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DE1FE20B-5E60-4515-B7FD-731073D70F45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F644F510-2F59-42BA-A531-4EB3C46D6DE9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F39206A6-20E5-4545-9D47-CA9367EB88FD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79A56FDE-90F5-4E73-8873-8C60B66CCB8D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AFF71B83-E21A-41B8-8010-CB93897E713B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DBAC213-2575-4AAF-8E76-CBD7A176D66B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DAF0D28D-C68B-4570-A700-EA4F19D2EBFF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0C73731D-EF03-49AD-8E9C-23D753D5D41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03824847-F55D-473B-BB5D-B1DDA0042F28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622906F7-293A-4D35-9C2D-C04F23EA8B3F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876D9714-DC1A-4076-AB52-311D6F2CB878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681409FA-204B-46A7-9A51-873D5D621744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05F07186-FC93-4F0D-A00A-7A2D77DB27CE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784F23C4-B45A-4EB8-BED6-E266998FCD9B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154A80D3-9BEE-4B24-B883-9659547B802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687E4BF8-AD86-4104-84A8-9C873F369272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0EE00D0B-5E41-48D8-A690-4A8A6CB44C8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B41023A-7CAC-446D-B721-88D3AC287150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56287F0-C6B7-4625-A438-0C9008BF5B5C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45034DA-38F7-4478-BAF7-FEFADF30E522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EE3300B6-7355-4E9F-B7D1-9A4135B87BCF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627627FA-57A2-424E-989B-D648280EF59C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51C09CAF-C3DD-4455-8572-5356EC1B642C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F61179F-909B-4055-AD96-CEA0A0A7B7E4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91963663-44DC-4021-AFF6-D5F669B6A92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62D123FD-B5E0-4548-96CA-1A7F1AC1A09E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6CE1B995-D2F4-4AEF-988E-5EB8EAA87B62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C1AC6E7B-BB69-4AFC-8C5A-0F5E47EDB059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2E6AE09-2F39-415C-8F3F-799C8F909F36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BC346E3D-C8A7-4BB1-9792-ADAE9BE584A0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562447B6-76CF-4E0A-B28C-9659ED67A9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25FF06C-37BB-4D75-8AC7-A78C8127EEC3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21FF48D0-728E-4951-8C1E-90115D271217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EC1EFE6C-A75D-49B3-B7A9-8E8C62BF285E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5598382E-7B7A-4AF2-B21E-D6043FA78BE3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2809307A-9273-438E-A4E8-4B3B0CE50E95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D0CD0496-E1DF-4952-A21C-4405C19860DB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33FB131C-DB1D-4D1F-80EE-9813D0A682E5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F5200ADC-740F-4C31-B4A0-0320E7D51B2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32DBF6AF-FD99-4FF4-9D88-2C29BB9F99E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07C10699-A463-4F9C-846F-363109B45D2F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FCF2D1B2-E5A5-429D-8760-683FCB5BF42B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BA66E674-DB28-4641-9954-F8CA9BEBBC5B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92CFAD18-61CB-40E7-B2A6-57598E08EA7D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9CD1C9F4-8955-4BD5-8665-AE464F127D1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main body box">
              <a:extLst>
                <a:ext uri="{FF2B5EF4-FFF2-40B4-BE49-F238E27FC236}">
                  <a16:creationId xmlns:a16="http://schemas.microsoft.com/office/drawing/2014/main" id="{BAC3127B-BF63-4C1F-80E0-2F7C0EA95BF2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4797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2636E122-5B51-4E78-9B89-07257642928C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4256D668-DA23-43BE-ABA7-359BFA1FDAA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42"/>
            </p:custDataLst>
          </p:nvPr>
        </p:nvSpPr>
        <p:spPr>
          <a:xfrm>
            <a:off x="553972" y="608718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43"/>
            </p:custDataLst>
          </p:nvPr>
        </p:nvSpPr>
        <p:spPr>
          <a:xfrm>
            <a:off x="554736" y="760446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GB" altLang="zh-CN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002"/>
            <a:ext cx="330219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6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4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416240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C8F34C3-9426-4476-AC2F-242E90421AAC}"/>
              </a:ext>
            </a:extLst>
          </p:cNvPr>
          <p:cNvGrpSpPr/>
          <p:nvPr userDrawn="1"/>
        </p:nvGrpSpPr>
        <p:grpSpPr>
          <a:xfrm>
            <a:off x="10317304" y="3150223"/>
            <a:ext cx="1360036" cy="958286"/>
            <a:chOff x="10162879" y="3243772"/>
            <a:chExt cx="136003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65EF83A5-AF7D-4FA5-9FAC-3CEA8FE34574}"/>
                </a:ext>
              </a:extLst>
            </p:cNvPr>
            <p:cNvSpPr txBox="1"/>
            <p:nvPr/>
          </p:nvSpPr>
          <p:spPr>
            <a:xfrm>
              <a:off x="10886522" y="324377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C836737-0A08-4553-81A3-BEDBF65350C4}"/>
                </a:ext>
              </a:extLst>
            </p:cNvPr>
            <p:cNvSpPr txBox="1"/>
            <p:nvPr/>
          </p:nvSpPr>
          <p:spPr>
            <a:xfrm>
              <a:off x="10886522" y="3615193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1F3A4CD-809C-4485-998D-4B6C194F68A7}"/>
                </a:ext>
              </a:extLst>
            </p:cNvPr>
            <p:cNvSpPr txBox="1"/>
            <p:nvPr/>
          </p:nvSpPr>
          <p:spPr>
            <a:xfrm>
              <a:off x="10886522" y="398661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6EBAF22-9E60-4C1B-A8E6-FE1A465562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946BF81-E722-4DB2-938C-03DF7996155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C0C70A45-B784-4800-B135-FA3DE38F520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6D17E42-AD27-4C58-8D35-F61A3EE5A564}"/>
              </a:ext>
            </a:extLst>
          </p:cNvPr>
          <p:cNvGrpSpPr/>
          <p:nvPr userDrawn="1"/>
        </p:nvGrpSpPr>
        <p:grpSpPr>
          <a:xfrm>
            <a:off x="10688315" y="1145373"/>
            <a:ext cx="989025" cy="1731859"/>
            <a:chOff x="7723680" y="1702457"/>
            <a:chExt cx="98902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00295BD-7471-416D-8E08-F7B2D3930A48}"/>
                </a:ext>
              </a:extLst>
            </p:cNvPr>
            <p:cNvSpPr txBox="1"/>
            <p:nvPr/>
          </p:nvSpPr>
          <p:spPr>
            <a:xfrm>
              <a:off x="8076312" y="1709816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843D412-B337-49C8-A0AB-C59C26B46697}"/>
                </a:ext>
              </a:extLst>
            </p:cNvPr>
            <p:cNvSpPr txBox="1"/>
            <p:nvPr/>
          </p:nvSpPr>
          <p:spPr>
            <a:xfrm>
              <a:off x="8076312" y="2085275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7F6F250-7CF8-401D-A2C4-8EEE83E347F7}"/>
                </a:ext>
              </a:extLst>
            </p:cNvPr>
            <p:cNvSpPr txBox="1"/>
            <p:nvPr/>
          </p:nvSpPr>
          <p:spPr>
            <a:xfrm>
              <a:off x="8076312" y="246073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066B080-CBD8-4EBC-AA31-0CE9FFF9EB89}"/>
                </a:ext>
              </a:extLst>
            </p:cNvPr>
            <p:cNvSpPr txBox="1"/>
            <p:nvPr/>
          </p:nvSpPr>
          <p:spPr>
            <a:xfrm>
              <a:off x="8076312" y="2836193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31ED5DFB-8454-4A22-9CAF-032E9C91585F}"/>
                </a:ext>
              </a:extLst>
            </p:cNvPr>
            <p:cNvSpPr txBox="1"/>
            <p:nvPr/>
          </p:nvSpPr>
          <p:spPr>
            <a:xfrm>
              <a:off x="8076312" y="321165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03C279B-1BC0-46AC-A7D8-2735F472404F}"/>
                </a:ext>
              </a:extLst>
            </p:cNvPr>
            <p:cNvGrpSpPr>
              <a:grpSpLocks noChangeAspect="1"/>
            </p:cNvGrpSpPr>
            <p:nvPr>
              <p:custDataLst>
                <p:tags r:id="rId4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43EB0D23-2708-4C51-A6ED-69564A71F50E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D1143FC5-B30A-49CC-B741-38AEA51F4C5F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DC7B872-4713-45D2-AAA4-2589A6AF91DC}"/>
                </a:ext>
              </a:extLst>
            </p:cNvPr>
            <p:cNvGrpSpPr>
              <a:grpSpLocks noChangeAspect="1"/>
            </p:cNvGrpSpPr>
            <p:nvPr>
              <p:custDataLst>
                <p:tags r:id="rId4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DD48D00-ADED-4FE9-90D2-C258E3D4B502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726E0BB-9008-44F4-914F-DA5CEFF3606A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D60A6C7-5D29-4F0C-8851-CFC09776C329}"/>
                </a:ext>
              </a:extLst>
            </p:cNvPr>
            <p:cNvGrpSpPr>
              <a:grpSpLocks noChangeAspect="1"/>
            </p:cNvGrpSpPr>
            <p:nvPr>
              <p:custDataLst>
                <p:tags r:id="rId4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9B7785-46F2-46E7-B724-F53B6BF0741F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E6E0D36-FC97-481E-A24A-6F0179A05B68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769A7BB-4FA3-49E0-B35D-26C77EDA1B30}"/>
                </a:ext>
              </a:extLst>
            </p:cNvPr>
            <p:cNvGrpSpPr>
              <a:grpSpLocks noChangeAspect="1"/>
            </p:cNvGrpSpPr>
            <p:nvPr>
              <p:custDataLst>
                <p:tags r:id="rId4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5BF6FE9A-69E6-494A-BB12-0AADA06A5D1A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7F9CC1CD-93D5-4B98-BFC1-5B90578D37E2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989CB42F-D087-4EAE-9D18-3D4CC898FEA9}"/>
                </a:ext>
              </a:extLst>
            </p:cNvPr>
            <p:cNvGrpSpPr>
              <a:grpSpLocks noChangeAspect="1"/>
            </p:cNvGrpSpPr>
            <p:nvPr>
              <p:custDataLst>
                <p:tags r:id="rId4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FF09B86-6DB1-4087-BB85-7FE02B81DF5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E5A942B-726A-43FC-80EE-DE6962BF6533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FEF37E17-774E-48A8-9354-4CD300DB5670}"/>
              </a:ext>
            </a:extLst>
          </p:cNvPr>
          <p:cNvGrpSpPr/>
          <p:nvPr userDrawn="1"/>
        </p:nvGrpSpPr>
        <p:grpSpPr>
          <a:xfrm>
            <a:off x="10714801" y="4381500"/>
            <a:ext cx="962539" cy="1717282"/>
            <a:chOff x="10652400" y="4322824"/>
            <a:chExt cx="96253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66F9223-3721-4089-B1B5-D93E4F61D11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0DCE1E45-D128-447C-9504-853DD36CE1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1EED0A23-F886-4B89-B99B-BD0BEE4D8D5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7133D92E-D880-4ED6-8F3F-1D80D662EB3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5311859-DE87-4D5E-9B4B-31AE40E50B7F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408BEB32-69A6-4880-B606-3FA78917404E}"/>
                </a:ext>
              </a:extLst>
            </p:cNvPr>
            <p:cNvSpPr txBox="1"/>
            <p:nvPr/>
          </p:nvSpPr>
          <p:spPr>
            <a:xfrm>
              <a:off x="10978546" y="432282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90F97D48-EA25-4C68-B84F-DD22DF19218B}"/>
                </a:ext>
              </a:extLst>
            </p:cNvPr>
            <p:cNvSpPr txBox="1"/>
            <p:nvPr/>
          </p:nvSpPr>
          <p:spPr>
            <a:xfrm>
              <a:off x="10978546" y="470232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06651BF4-CFDD-403F-9630-4BE49B82A64A}"/>
                </a:ext>
              </a:extLst>
            </p:cNvPr>
            <p:cNvSpPr txBox="1"/>
            <p:nvPr/>
          </p:nvSpPr>
          <p:spPr>
            <a:xfrm>
              <a:off x="10978546" y="5081820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9086FB47-1C30-4D90-80CA-3D8D8780CFC6}"/>
                </a:ext>
              </a:extLst>
            </p:cNvPr>
            <p:cNvSpPr txBox="1"/>
            <p:nvPr/>
          </p:nvSpPr>
          <p:spPr>
            <a:xfrm>
              <a:off x="10978546" y="5453241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A1C53328-2632-47CC-B746-7A01D5344A4C}"/>
                </a:ext>
              </a:extLst>
            </p:cNvPr>
            <p:cNvSpPr txBox="1"/>
            <p:nvPr/>
          </p:nvSpPr>
          <p:spPr>
            <a:xfrm>
              <a:off x="10978545" y="582466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173E075-601C-45B9-AC58-5BF695F15E09}"/>
              </a:ext>
            </a:extLst>
          </p:cNvPr>
          <p:cNvPicPr>
            <a:picLocks noChangeAspect="1"/>
          </p:cNvPicPr>
          <p:nvPr userDrawn="1"/>
        </p:nvPicPr>
        <p:blipFill>
          <a:blip r:embed="rId62"/>
          <a:stretch>
            <a:fillRect/>
          </a:stretch>
        </p:blipFill>
        <p:spPr bwMode="ltGray">
          <a:xfrm>
            <a:off x="554400" y="6455559"/>
            <a:ext cx="651600" cy="2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936" r:id="rId2"/>
    <p:sldLayoutId id="2147483937" r:id="rId3"/>
    <p:sldLayoutId id="2147483938" r:id="rId4"/>
    <p:sldLayoutId id="2147483654" r:id="rId5"/>
    <p:sldLayoutId id="2147483948" r:id="rId6"/>
    <p:sldLayoutId id="2147483807" r:id="rId7"/>
    <p:sldLayoutId id="2147483960" r:id="rId8"/>
    <p:sldLayoutId id="2147483800" r:id="rId9"/>
    <p:sldLayoutId id="2147483955" r:id="rId10"/>
    <p:sldLayoutId id="2147483941" r:id="rId11"/>
    <p:sldLayoutId id="2147483659" r:id="rId12"/>
    <p:sldLayoutId id="2147483943" r:id="rId13"/>
    <p:sldLayoutId id="2147483804" r:id="rId14"/>
    <p:sldLayoutId id="2147483950" r:id="rId15"/>
    <p:sldLayoutId id="2147483953" r:id="rId16"/>
    <p:sldLayoutId id="2147483952" r:id="rId17"/>
    <p:sldLayoutId id="2147483882" r:id="rId18"/>
    <p:sldLayoutId id="2147483883" r:id="rId19"/>
    <p:sldLayoutId id="2147483884" r:id="rId20"/>
    <p:sldLayoutId id="2147483885" r:id="rId21"/>
    <p:sldLayoutId id="2147483886" r:id="rId22"/>
    <p:sldLayoutId id="2147483903" r:id="rId23"/>
    <p:sldLayoutId id="2147483904" r:id="rId24"/>
    <p:sldLayoutId id="2147483905" r:id="rId25"/>
    <p:sldLayoutId id="2147483906" r:id="rId26"/>
    <p:sldLayoutId id="2147483907" r:id="rId27"/>
    <p:sldLayoutId id="2147483887" r:id="rId28"/>
    <p:sldLayoutId id="2147483706" r:id="rId29"/>
    <p:sldLayoutId id="2147483718" r:id="rId30"/>
    <p:sldLayoutId id="2147483956" r:id="rId31"/>
    <p:sldLayoutId id="2147483901" r:id="rId32"/>
    <p:sldLayoutId id="2147483959" r:id="rId33"/>
    <p:sldLayoutId id="2147483949" r:id="rId34"/>
    <p:sldLayoutId id="2147483902" r:id="rId35"/>
    <p:sldLayoutId id="2147483961" r:id="rId36"/>
    <p:sldLayoutId id="2147483962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722" userDrawn="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81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1609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592" imgH="591" progId="TCLayout.ActiveDocument.1">
                  <p:embed/>
                </p:oleObj>
              </mc:Choice>
              <mc:Fallback>
                <p:oleObj name="think-cell Slide" r:id="rId5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34"/>
            </p:custDataLst>
          </p:nvPr>
        </p:nvSpPr>
        <p:spPr>
          <a:xfrm>
            <a:off x="554736" y="760446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3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4797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553972" y="608718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75002"/>
            <a:ext cx="330219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6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413337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649DB3CD-84BF-4F0A-BD0B-B610D5DB56BB}"/>
              </a:ext>
            </a:extLst>
          </p:cNvPr>
          <p:cNvGrpSpPr/>
          <p:nvPr userDrawn="1"/>
        </p:nvGrpSpPr>
        <p:grpSpPr>
          <a:xfrm>
            <a:off x="10714801" y="4381500"/>
            <a:ext cx="962539" cy="1717282"/>
            <a:chOff x="10554770" y="4322824"/>
            <a:chExt cx="962539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D6677F40-3838-489B-AD07-89055D21F0C9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E51EFA76-39CD-4F24-ADA3-F538FADA6A08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8387AAA5-447A-4305-97B9-1A5B048736DF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830DE047-1C75-443D-AA88-15AF4827A9EA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4E89731C-B283-4207-AD80-3D04E22B8C48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A03B1EB5-4D13-4FAB-A4B4-53956F7A20E0}"/>
                </a:ext>
              </a:extLst>
            </p:cNvPr>
            <p:cNvSpPr txBox="1"/>
            <p:nvPr/>
          </p:nvSpPr>
          <p:spPr>
            <a:xfrm>
              <a:off x="10880916" y="432282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E9947568-0A42-42AA-9F2B-0670A1CCCF8E}"/>
                </a:ext>
              </a:extLst>
            </p:cNvPr>
            <p:cNvSpPr txBox="1"/>
            <p:nvPr/>
          </p:nvSpPr>
          <p:spPr>
            <a:xfrm>
              <a:off x="10880916" y="470232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53B043F3-A2CF-4492-8180-30BC74D51B51}"/>
                </a:ext>
              </a:extLst>
            </p:cNvPr>
            <p:cNvSpPr txBox="1"/>
            <p:nvPr/>
          </p:nvSpPr>
          <p:spPr>
            <a:xfrm>
              <a:off x="10880916" y="5081820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4C95ECAE-4862-406A-9760-41A17C583604}"/>
                </a:ext>
              </a:extLst>
            </p:cNvPr>
            <p:cNvSpPr txBox="1"/>
            <p:nvPr/>
          </p:nvSpPr>
          <p:spPr>
            <a:xfrm>
              <a:off x="10880916" y="5453241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0BE610A8-774E-4199-B0B6-2672C397ED13}"/>
                </a:ext>
              </a:extLst>
            </p:cNvPr>
            <p:cNvSpPr txBox="1"/>
            <p:nvPr/>
          </p:nvSpPr>
          <p:spPr>
            <a:xfrm>
              <a:off x="10880915" y="582466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F5721E7B-1A8D-4644-8E71-2F829F78DCCE}"/>
              </a:ext>
            </a:extLst>
          </p:cNvPr>
          <p:cNvGrpSpPr/>
          <p:nvPr userDrawn="1"/>
        </p:nvGrpSpPr>
        <p:grpSpPr>
          <a:xfrm>
            <a:off x="10317304" y="3150831"/>
            <a:ext cx="1360036" cy="958286"/>
            <a:chOff x="10162879" y="3243772"/>
            <a:chExt cx="1360036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556785DD-4B43-4311-9D0E-D02B26BF0782}"/>
                </a:ext>
              </a:extLst>
            </p:cNvPr>
            <p:cNvSpPr txBox="1"/>
            <p:nvPr/>
          </p:nvSpPr>
          <p:spPr>
            <a:xfrm>
              <a:off x="10886522" y="3243772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7703FC0E-7443-4C8D-B8F1-7CFDFA112DDC}"/>
                </a:ext>
              </a:extLst>
            </p:cNvPr>
            <p:cNvSpPr txBox="1"/>
            <p:nvPr/>
          </p:nvSpPr>
          <p:spPr>
            <a:xfrm>
              <a:off x="10886522" y="3615193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177F181B-348A-46D0-B672-04BF893216BC}"/>
                </a:ext>
              </a:extLst>
            </p:cNvPr>
            <p:cNvSpPr txBox="1"/>
            <p:nvPr/>
          </p:nvSpPr>
          <p:spPr>
            <a:xfrm>
              <a:off x="10886522" y="3986614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AA1E7436-6E6A-4DB6-A087-82EE3AD8C6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9BE8331F-6844-43D8-B489-F85A34B1B0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4D267FB5-508B-4248-9EA7-FD6AADA956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9E885674-065F-458A-ABD8-760913F01E85}"/>
              </a:ext>
            </a:extLst>
          </p:cNvPr>
          <p:cNvGrpSpPr/>
          <p:nvPr userDrawn="1"/>
        </p:nvGrpSpPr>
        <p:grpSpPr>
          <a:xfrm>
            <a:off x="10684859" y="1146588"/>
            <a:ext cx="989025" cy="1731859"/>
            <a:chOff x="7716535" y="2630582"/>
            <a:chExt cx="989025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07FB6D81-225D-4319-9A11-B469798A9AC3}"/>
                </a:ext>
              </a:extLst>
            </p:cNvPr>
            <p:cNvSpPr txBox="1"/>
            <p:nvPr/>
          </p:nvSpPr>
          <p:spPr>
            <a:xfrm>
              <a:off x="8069167" y="2637941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E54664A7-239C-445C-8D50-A11226EDA0D6}"/>
                </a:ext>
              </a:extLst>
            </p:cNvPr>
            <p:cNvSpPr txBox="1"/>
            <p:nvPr/>
          </p:nvSpPr>
          <p:spPr>
            <a:xfrm>
              <a:off x="8069167" y="3013400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F203F0FA-B6F3-4B6C-BDC3-D1780BFCB3D2}"/>
                </a:ext>
              </a:extLst>
            </p:cNvPr>
            <p:cNvSpPr txBox="1"/>
            <p:nvPr/>
          </p:nvSpPr>
          <p:spPr>
            <a:xfrm>
              <a:off x="8069167" y="3388859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770A2E8F-04C8-4294-BBDC-7C235A47208B}"/>
                </a:ext>
              </a:extLst>
            </p:cNvPr>
            <p:cNvSpPr txBox="1"/>
            <p:nvPr/>
          </p:nvSpPr>
          <p:spPr>
            <a:xfrm>
              <a:off x="8069167" y="3764318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1B697852-CF5C-4680-B9A3-1CE71BE0865D}"/>
                </a:ext>
              </a:extLst>
            </p:cNvPr>
            <p:cNvSpPr txBox="1"/>
            <p:nvPr/>
          </p:nvSpPr>
          <p:spPr>
            <a:xfrm>
              <a:off x="8069167" y="4139779"/>
              <a:ext cx="63639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FD442EC6-8741-4E5B-B000-75E2E130C539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67736586-9396-4AA9-9112-757473E5173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49C219B6-7A83-4A82-9348-DCBCAE6EA3B4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A9967565-7FD0-4A50-BDDF-A80902616047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082A6BC5-9192-470B-9EC8-E4DC7433B36D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FC1D2BE8-55BC-4EC8-B09A-155A0D699881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E1184871-4C7E-410C-BD1C-F8656DE3C5FD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219C106E-CE07-4EF2-88CF-2B8162079FFA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2BE643BE-995C-4895-9431-BBC020D6A84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0DDC11BC-8C9C-446E-92BE-65A7C3FB62CD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733C4AA8-0666-4C44-B724-01A1052988E8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D2F11EAD-BE1F-4B84-851D-6A85BC4E4C1E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9B65D34A-5120-4856-8433-E5A4BB192BF1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FE9D3D90-02BC-4200-8A3D-99170EF89ECC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96260889-1BA4-40B5-81BD-4361F44C16B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pic>
        <p:nvPicPr>
          <p:cNvPr id="168" name="Picture 167">
            <a:extLst>
              <a:ext uri="{FF2B5EF4-FFF2-40B4-BE49-F238E27FC236}">
                <a16:creationId xmlns:a16="http://schemas.microsoft.com/office/drawing/2014/main" id="{C4A1F4C5-6BAF-409F-B281-B5E6FF897D90}"/>
              </a:ext>
            </a:extLst>
          </p:cNvPr>
          <p:cNvPicPr>
            <a:picLocks noChangeAspect="1"/>
          </p:cNvPicPr>
          <p:nvPr userDrawn="1"/>
        </p:nvPicPr>
        <p:blipFill>
          <a:blip r:embed="rId55"/>
          <a:stretch>
            <a:fillRect/>
          </a:stretch>
        </p:blipFill>
        <p:spPr>
          <a:xfrm>
            <a:off x="553974" y="6455558"/>
            <a:ext cx="651600" cy="2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865" r:id="rId2"/>
    <p:sldLayoutId id="2147483897" r:id="rId3"/>
    <p:sldLayoutId id="2147483898" r:id="rId4"/>
    <p:sldLayoutId id="2147483866" r:id="rId5"/>
    <p:sldLayoutId id="2147483867" r:id="rId6"/>
    <p:sldLayoutId id="2147483942" r:id="rId7"/>
    <p:sldLayoutId id="2147483868" r:id="rId8"/>
    <p:sldLayoutId id="2147483946" r:id="rId9"/>
    <p:sldLayoutId id="2147483944" r:id="rId10"/>
    <p:sldLayoutId id="2147483870" r:id="rId11"/>
    <p:sldLayoutId id="2147483871" r:id="rId12"/>
    <p:sldLayoutId id="2147483940" r:id="rId13"/>
    <p:sldLayoutId id="2147483947" r:id="rId14"/>
    <p:sldLayoutId id="2147483945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4" r:id="rId21"/>
    <p:sldLayoutId id="2147483895" r:id="rId22"/>
    <p:sldLayoutId id="2147483896" r:id="rId23"/>
    <p:sldLayoutId id="2147483893" r:id="rId24"/>
    <p:sldLayoutId id="2147483877" r:id="rId25"/>
    <p:sldLayoutId id="2147483899" r:id="rId26"/>
    <p:sldLayoutId id="2147483878" r:id="rId27"/>
    <p:sldLayoutId id="2147483951" r:id="rId28"/>
    <p:sldLayoutId id="2147483958" r:id="rId29"/>
    <p:sldLayoutId id="2147483900" r:id="rId3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720" userDrawn="1">
          <p15:clr>
            <a:srgbClr val="5ACBF0"/>
          </p15:clr>
        </p15:guide>
        <p15:guide id="4" orient="horz" pos="1080" userDrawn="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8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7.xml"/><Relationship Id="rId5" Type="http://schemas.openxmlformats.org/officeDocument/2006/relationships/image" Target="../media/image56.png"/><Relationship Id="rId4" Type="http://schemas.openxmlformats.org/officeDocument/2006/relationships/image" Target="../media/image5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7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75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microsoft.com/office/2007/relationships/hdphoto" Target="../media/hdphoto5.wdp"/><Relationship Id="rId18" Type="http://schemas.openxmlformats.org/officeDocument/2006/relationships/image" Target="../media/image83.png"/><Relationship Id="rId26" Type="http://schemas.openxmlformats.org/officeDocument/2006/relationships/image" Target="../media/image88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60.png"/><Relationship Id="rId7" Type="http://schemas.microsoft.com/office/2007/relationships/hdphoto" Target="../media/hdphoto2.wdp"/><Relationship Id="rId12" Type="http://schemas.openxmlformats.org/officeDocument/2006/relationships/image" Target="../media/image80.png"/><Relationship Id="rId17" Type="http://schemas.microsoft.com/office/2007/relationships/hdphoto" Target="../media/hdphoto7.wdp"/><Relationship Id="rId25" Type="http://schemas.openxmlformats.org/officeDocument/2006/relationships/image" Target="../media/image87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82.png"/><Relationship Id="rId20" Type="http://schemas.openxmlformats.org/officeDocument/2006/relationships/image" Target="../media/image84.png"/><Relationship Id="rId29" Type="http://schemas.openxmlformats.org/officeDocument/2006/relationships/image" Target="../media/image91.png"/><Relationship Id="rId1" Type="http://schemas.openxmlformats.org/officeDocument/2006/relationships/tags" Target="../tags/tag428.xml"/><Relationship Id="rId6" Type="http://schemas.openxmlformats.org/officeDocument/2006/relationships/image" Target="../media/image77.png"/><Relationship Id="rId11" Type="http://schemas.microsoft.com/office/2007/relationships/hdphoto" Target="../media/hdphoto4.wdp"/><Relationship Id="rId24" Type="http://schemas.openxmlformats.org/officeDocument/2006/relationships/image" Target="../media/image86.png"/><Relationship Id="rId5" Type="http://schemas.openxmlformats.org/officeDocument/2006/relationships/image" Target="../media/image76.emf"/><Relationship Id="rId15" Type="http://schemas.microsoft.com/office/2007/relationships/hdphoto" Target="../media/hdphoto6.wdp"/><Relationship Id="rId23" Type="http://schemas.openxmlformats.org/officeDocument/2006/relationships/image" Target="../media/image85.png"/><Relationship Id="rId28" Type="http://schemas.openxmlformats.org/officeDocument/2006/relationships/image" Target="../media/image90.jpeg"/><Relationship Id="rId10" Type="http://schemas.openxmlformats.org/officeDocument/2006/relationships/image" Target="../media/image79.png"/><Relationship Id="rId19" Type="http://schemas.microsoft.com/office/2007/relationships/hdphoto" Target="../media/hdphoto8.wdp"/><Relationship Id="rId31" Type="http://schemas.openxmlformats.org/officeDocument/2006/relationships/image" Target="../media/image93.svg"/><Relationship Id="rId4" Type="http://schemas.openxmlformats.org/officeDocument/2006/relationships/oleObject" Target="../embeddings/oleObject70.bin"/><Relationship Id="rId9" Type="http://schemas.microsoft.com/office/2007/relationships/hdphoto" Target="../media/hdphoto3.wdp"/><Relationship Id="rId14" Type="http://schemas.openxmlformats.org/officeDocument/2006/relationships/image" Target="../media/image81.png"/><Relationship Id="rId22" Type="http://schemas.openxmlformats.org/officeDocument/2006/relationships/image" Target="../media/image61.svg"/><Relationship Id="rId27" Type="http://schemas.openxmlformats.org/officeDocument/2006/relationships/image" Target="../media/image89.png"/><Relationship Id="rId30" Type="http://schemas.openxmlformats.org/officeDocument/2006/relationships/image" Target="../media/image9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29.xml"/><Relationship Id="rId6" Type="http://schemas.openxmlformats.org/officeDocument/2006/relationships/image" Target="../media/image60.png"/><Relationship Id="rId5" Type="http://schemas.openxmlformats.org/officeDocument/2006/relationships/image" Target="../media/image67.emf"/><Relationship Id="rId4" Type="http://schemas.openxmlformats.org/officeDocument/2006/relationships/oleObject" Target="../embeddings/oleObject71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442.xml"/><Relationship Id="rId18" Type="http://schemas.openxmlformats.org/officeDocument/2006/relationships/tags" Target="../tags/tag447.xml"/><Relationship Id="rId26" Type="http://schemas.openxmlformats.org/officeDocument/2006/relationships/image" Target="../media/image96.png"/><Relationship Id="rId39" Type="http://schemas.openxmlformats.org/officeDocument/2006/relationships/image" Target="../media/image107.png"/><Relationship Id="rId21" Type="http://schemas.openxmlformats.org/officeDocument/2006/relationships/slideLayout" Target="../slideLayouts/slideLayout36.xml"/><Relationship Id="rId34" Type="http://schemas.openxmlformats.org/officeDocument/2006/relationships/image" Target="../media/image104.svg"/><Relationship Id="rId42" Type="http://schemas.openxmlformats.org/officeDocument/2006/relationships/image" Target="../media/image110.svg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6" Type="http://schemas.openxmlformats.org/officeDocument/2006/relationships/tags" Target="../tags/tag445.xml"/><Relationship Id="rId20" Type="http://schemas.openxmlformats.org/officeDocument/2006/relationships/tags" Target="../tags/tag449.xml"/><Relationship Id="rId29" Type="http://schemas.openxmlformats.org/officeDocument/2006/relationships/image" Target="../media/image99.png"/><Relationship Id="rId41" Type="http://schemas.openxmlformats.org/officeDocument/2006/relationships/image" Target="../media/image109.png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11" Type="http://schemas.openxmlformats.org/officeDocument/2006/relationships/tags" Target="../tags/tag440.xml"/><Relationship Id="rId24" Type="http://schemas.openxmlformats.org/officeDocument/2006/relationships/image" Target="../media/image94.emf"/><Relationship Id="rId32" Type="http://schemas.openxmlformats.org/officeDocument/2006/relationships/image" Target="../media/image102.svg"/><Relationship Id="rId37" Type="http://schemas.openxmlformats.org/officeDocument/2006/relationships/image" Target="../media/image60.png"/><Relationship Id="rId40" Type="http://schemas.openxmlformats.org/officeDocument/2006/relationships/image" Target="../media/image108.svg"/><Relationship Id="rId5" Type="http://schemas.openxmlformats.org/officeDocument/2006/relationships/tags" Target="../tags/tag434.xml"/><Relationship Id="rId15" Type="http://schemas.openxmlformats.org/officeDocument/2006/relationships/tags" Target="../tags/tag444.xml"/><Relationship Id="rId23" Type="http://schemas.openxmlformats.org/officeDocument/2006/relationships/oleObject" Target="../embeddings/oleObject72.bin"/><Relationship Id="rId28" Type="http://schemas.openxmlformats.org/officeDocument/2006/relationships/image" Target="../media/image98.png"/><Relationship Id="rId36" Type="http://schemas.openxmlformats.org/officeDocument/2006/relationships/image" Target="../media/image106.svg"/><Relationship Id="rId10" Type="http://schemas.openxmlformats.org/officeDocument/2006/relationships/tags" Target="../tags/tag439.xml"/><Relationship Id="rId19" Type="http://schemas.openxmlformats.org/officeDocument/2006/relationships/tags" Target="../tags/tag448.xml"/><Relationship Id="rId31" Type="http://schemas.openxmlformats.org/officeDocument/2006/relationships/image" Target="../media/image101.png"/><Relationship Id="rId4" Type="http://schemas.openxmlformats.org/officeDocument/2006/relationships/tags" Target="../tags/tag433.xml"/><Relationship Id="rId9" Type="http://schemas.openxmlformats.org/officeDocument/2006/relationships/tags" Target="../tags/tag438.xml"/><Relationship Id="rId14" Type="http://schemas.openxmlformats.org/officeDocument/2006/relationships/tags" Target="../tags/tag443.xml"/><Relationship Id="rId22" Type="http://schemas.openxmlformats.org/officeDocument/2006/relationships/notesSlide" Target="../notesSlides/notesSlide6.xml"/><Relationship Id="rId27" Type="http://schemas.openxmlformats.org/officeDocument/2006/relationships/image" Target="../media/image97.png"/><Relationship Id="rId30" Type="http://schemas.openxmlformats.org/officeDocument/2006/relationships/image" Target="../media/image100.svg"/><Relationship Id="rId35" Type="http://schemas.openxmlformats.org/officeDocument/2006/relationships/image" Target="../media/image105.png"/><Relationship Id="rId8" Type="http://schemas.openxmlformats.org/officeDocument/2006/relationships/tags" Target="../tags/tag437.xml"/><Relationship Id="rId3" Type="http://schemas.openxmlformats.org/officeDocument/2006/relationships/tags" Target="../tags/tag432.xml"/><Relationship Id="rId12" Type="http://schemas.openxmlformats.org/officeDocument/2006/relationships/tags" Target="../tags/tag441.xml"/><Relationship Id="rId17" Type="http://schemas.openxmlformats.org/officeDocument/2006/relationships/tags" Target="../tags/tag446.xml"/><Relationship Id="rId25" Type="http://schemas.openxmlformats.org/officeDocument/2006/relationships/image" Target="../media/image95.png"/><Relationship Id="rId33" Type="http://schemas.openxmlformats.org/officeDocument/2006/relationships/image" Target="../media/image103.png"/><Relationship Id="rId38" Type="http://schemas.openxmlformats.org/officeDocument/2006/relationships/image" Target="../media/image6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50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6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1.xml"/><Relationship Id="rId5" Type="http://schemas.openxmlformats.org/officeDocument/2006/relationships/image" Target="../media/image56.png"/><Relationship Id="rId4" Type="http://schemas.openxmlformats.org/officeDocument/2006/relationships/image" Target="../media/image5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52.xml"/><Relationship Id="rId6" Type="http://schemas.openxmlformats.org/officeDocument/2006/relationships/image" Target="../media/image112.png"/><Relationship Id="rId5" Type="http://schemas.openxmlformats.org/officeDocument/2006/relationships/image" Target="../media/image111.emf"/><Relationship Id="rId4" Type="http://schemas.openxmlformats.org/officeDocument/2006/relationships/oleObject" Target="../embeddings/oleObject7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53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7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54.xml"/><Relationship Id="rId6" Type="http://schemas.openxmlformats.org/officeDocument/2006/relationships/image" Target="../media/image60.png"/><Relationship Id="rId5" Type="http://schemas.openxmlformats.org/officeDocument/2006/relationships/image" Target="../media/image113.emf"/><Relationship Id="rId4" Type="http://schemas.openxmlformats.org/officeDocument/2006/relationships/oleObject" Target="../embeddings/oleObject7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15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55.xml"/><Relationship Id="rId6" Type="http://schemas.openxmlformats.org/officeDocument/2006/relationships/image" Target="../media/image114.png"/><Relationship Id="rId5" Type="http://schemas.openxmlformats.org/officeDocument/2006/relationships/image" Target="../media/image72.emf"/><Relationship Id="rId4" Type="http://schemas.openxmlformats.org/officeDocument/2006/relationships/oleObject" Target="../embeddings/oleObject77.bin"/><Relationship Id="rId9" Type="http://schemas.openxmlformats.org/officeDocument/2006/relationships/image" Target="../media/image61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9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8.x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61.bin"/><Relationship Id="rId9" Type="http://schemas.openxmlformats.org/officeDocument/2006/relationships/image" Target="../media/image6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7" Type="http://schemas.openxmlformats.org/officeDocument/2006/relationships/image" Target="../media/image59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6.xml"/><Relationship Id="rId6" Type="http://schemas.openxmlformats.org/officeDocument/2006/relationships/image" Target="../media/image58.png"/><Relationship Id="rId5" Type="http://schemas.openxmlformats.org/officeDocument/2006/relationships/image" Target="../media/image117.png"/><Relationship Id="rId4" Type="http://schemas.openxmlformats.org/officeDocument/2006/relationships/image" Target="../media/image116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7.xml"/><Relationship Id="rId6" Type="http://schemas.openxmlformats.org/officeDocument/2006/relationships/image" Target="../media/image119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79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8.xml"/><Relationship Id="rId6" Type="http://schemas.openxmlformats.org/officeDocument/2006/relationships/image" Target="../media/image120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80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9.xml"/><Relationship Id="rId6" Type="http://schemas.openxmlformats.org/officeDocument/2006/relationships/image" Target="../media/image121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81.bin"/><Relationship Id="rId9" Type="http://schemas.openxmlformats.org/officeDocument/2006/relationships/image" Target="../media/image12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0.xml"/><Relationship Id="rId6" Type="http://schemas.openxmlformats.org/officeDocument/2006/relationships/image" Target="../media/image123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82.bin"/><Relationship Id="rId9" Type="http://schemas.openxmlformats.org/officeDocument/2006/relationships/image" Target="../media/image12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61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6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62.xml"/><Relationship Id="rId6" Type="http://schemas.openxmlformats.org/officeDocument/2006/relationships/image" Target="../media/image60.png"/><Relationship Id="rId5" Type="http://schemas.openxmlformats.org/officeDocument/2006/relationships/image" Target="../media/image125.emf"/><Relationship Id="rId4" Type="http://schemas.openxmlformats.org/officeDocument/2006/relationships/oleObject" Target="../embeddings/oleObject84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svg"/><Relationship Id="rId18" Type="http://schemas.openxmlformats.org/officeDocument/2006/relationships/image" Target="../media/image6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28.svg"/><Relationship Id="rId12" Type="http://schemas.openxmlformats.org/officeDocument/2006/relationships/image" Target="../media/image133.png"/><Relationship Id="rId17" Type="http://schemas.openxmlformats.org/officeDocument/2006/relationships/image" Target="../media/image138.sv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37.png"/><Relationship Id="rId1" Type="http://schemas.openxmlformats.org/officeDocument/2006/relationships/tags" Target="../tags/tag463.xml"/><Relationship Id="rId6" Type="http://schemas.openxmlformats.org/officeDocument/2006/relationships/image" Target="../media/image127.png"/><Relationship Id="rId11" Type="http://schemas.openxmlformats.org/officeDocument/2006/relationships/image" Target="../media/image132.svg"/><Relationship Id="rId5" Type="http://schemas.openxmlformats.org/officeDocument/2006/relationships/image" Target="../media/image126.emf"/><Relationship Id="rId15" Type="http://schemas.openxmlformats.org/officeDocument/2006/relationships/image" Target="../media/image136.svg"/><Relationship Id="rId10" Type="http://schemas.openxmlformats.org/officeDocument/2006/relationships/image" Target="../media/image131.png"/><Relationship Id="rId19" Type="http://schemas.openxmlformats.org/officeDocument/2006/relationships/image" Target="../media/image61.svg"/><Relationship Id="rId4" Type="http://schemas.openxmlformats.org/officeDocument/2006/relationships/oleObject" Target="../embeddings/oleObject85.bin"/><Relationship Id="rId9" Type="http://schemas.openxmlformats.org/officeDocument/2006/relationships/image" Target="../media/image130.svg"/><Relationship Id="rId14" Type="http://schemas.openxmlformats.org/officeDocument/2006/relationships/image" Target="../media/image1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464.xml"/><Relationship Id="rId6" Type="http://schemas.openxmlformats.org/officeDocument/2006/relationships/image" Target="../media/image60.png"/><Relationship Id="rId5" Type="http://schemas.openxmlformats.org/officeDocument/2006/relationships/image" Target="../media/image72.emf"/><Relationship Id="rId4" Type="http://schemas.openxmlformats.org/officeDocument/2006/relationships/oleObject" Target="../embeddings/oleObject86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65.xml"/><Relationship Id="rId6" Type="http://schemas.openxmlformats.org/officeDocument/2006/relationships/image" Target="../media/image139.png"/><Relationship Id="rId5" Type="http://schemas.openxmlformats.org/officeDocument/2006/relationships/image" Target="../media/image111.emf"/><Relationship Id="rId4" Type="http://schemas.openxmlformats.org/officeDocument/2006/relationships/oleObject" Target="../embeddings/oleObject8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9.xml"/><Relationship Id="rId6" Type="http://schemas.openxmlformats.org/officeDocument/2006/relationships/image" Target="../media/image60.png"/><Relationship Id="rId5" Type="http://schemas.openxmlformats.org/officeDocument/2006/relationships/image" Target="../media/image63.emf"/><Relationship Id="rId4" Type="http://schemas.openxmlformats.org/officeDocument/2006/relationships/oleObject" Target="../embeddings/oleObject62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6.xml"/><Relationship Id="rId6" Type="http://schemas.openxmlformats.org/officeDocument/2006/relationships/image" Target="../media/image117.png"/><Relationship Id="rId5" Type="http://schemas.openxmlformats.org/officeDocument/2006/relationships/image" Target="../media/image116.emf"/><Relationship Id="rId4" Type="http://schemas.openxmlformats.org/officeDocument/2006/relationships/oleObject" Target="../embeddings/oleObject88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9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7.xml"/><Relationship Id="rId6" Type="http://schemas.openxmlformats.org/officeDocument/2006/relationships/image" Target="../media/image58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89.bin"/><Relationship Id="rId9" Type="http://schemas.openxmlformats.org/officeDocument/2006/relationships/image" Target="../media/image14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8.xml"/><Relationship Id="rId6" Type="http://schemas.openxmlformats.org/officeDocument/2006/relationships/image" Target="../media/image121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90.bin"/><Relationship Id="rId9" Type="http://schemas.openxmlformats.org/officeDocument/2006/relationships/image" Target="../media/image12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9.xml"/><Relationship Id="rId6" Type="http://schemas.openxmlformats.org/officeDocument/2006/relationships/image" Target="../media/image121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91.bin"/><Relationship Id="rId9" Type="http://schemas.openxmlformats.org/officeDocument/2006/relationships/image" Target="../media/image12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2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0.xml"/><Relationship Id="rId6" Type="http://schemas.openxmlformats.org/officeDocument/2006/relationships/image" Target="../media/image123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92.bin"/><Relationship Id="rId9" Type="http://schemas.openxmlformats.org/officeDocument/2006/relationships/image" Target="../media/image59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59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1.xml"/><Relationship Id="rId6" Type="http://schemas.openxmlformats.org/officeDocument/2006/relationships/image" Target="../media/image58.png"/><Relationship Id="rId5" Type="http://schemas.openxmlformats.org/officeDocument/2006/relationships/image" Target="../media/image118.emf"/><Relationship Id="rId4" Type="http://schemas.openxmlformats.org/officeDocument/2006/relationships/oleObject" Target="../embeddings/oleObject93.bin"/><Relationship Id="rId9" Type="http://schemas.openxmlformats.org/officeDocument/2006/relationships/image" Target="../media/image14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2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75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73.xml"/><Relationship Id="rId6" Type="http://schemas.openxmlformats.org/officeDocument/2006/relationships/image" Target="../media/image60.png"/><Relationship Id="rId5" Type="http://schemas.openxmlformats.org/officeDocument/2006/relationships/image" Target="../media/image144.emf"/><Relationship Id="rId4" Type="http://schemas.openxmlformats.org/officeDocument/2006/relationships/oleObject" Target="../embeddings/oleObject95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47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74.xml"/><Relationship Id="rId6" Type="http://schemas.openxmlformats.org/officeDocument/2006/relationships/image" Target="../media/image146.png"/><Relationship Id="rId5" Type="http://schemas.openxmlformats.org/officeDocument/2006/relationships/image" Target="../media/image145.emf"/><Relationship Id="rId10" Type="http://schemas.openxmlformats.org/officeDocument/2006/relationships/image" Target="../media/image73.png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1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5.xml"/><Relationship Id="rId6" Type="http://schemas.openxmlformats.org/officeDocument/2006/relationships/image" Target="../media/image149.png"/><Relationship Id="rId5" Type="http://schemas.openxmlformats.org/officeDocument/2006/relationships/image" Target="../media/image148.emf"/><Relationship Id="rId4" Type="http://schemas.openxmlformats.org/officeDocument/2006/relationships/oleObject" Target="../embeddings/oleObject9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20.xml"/><Relationship Id="rId6" Type="http://schemas.openxmlformats.org/officeDocument/2006/relationships/image" Target="../media/image60.png"/><Relationship Id="rId5" Type="http://schemas.openxmlformats.org/officeDocument/2006/relationships/image" Target="../media/image65.jpg"/><Relationship Id="rId4" Type="http://schemas.openxmlformats.org/officeDocument/2006/relationships/image" Target="../media/image64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6.xml"/><Relationship Id="rId6" Type="http://schemas.openxmlformats.org/officeDocument/2006/relationships/image" Target="../media/image60.png"/><Relationship Id="rId5" Type="http://schemas.openxmlformats.org/officeDocument/2006/relationships/image" Target="../media/image151.png"/><Relationship Id="rId4" Type="http://schemas.openxmlformats.org/officeDocument/2006/relationships/image" Target="../media/image150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77.xml"/><Relationship Id="rId6" Type="http://schemas.openxmlformats.org/officeDocument/2006/relationships/image" Target="../media/image60.png"/><Relationship Id="rId5" Type="http://schemas.openxmlformats.org/officeDocument/2006/relationships/image" Target="../media/image63.emf"/><Relationship Id="rId4" Type="http://schemas.openxmlformats.org/officeDocument/2006/relationships/oleObject" Target="../embeddings/oleObject98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svg"/><Relationship Id="rId13" Type="http://schemas.openxmlformats.org/officeDocument/2006/relationships/image" Target="../media/image160.png"/><Relationship Id="rId18" Type="http://schemas.openxmlformats.org/officeDocument/2006/relationships/image" Target="../media/image59.sv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54.png"/><Relationship Id="rId12" Type="http://schemas.openxmlformats.org/officeDocument/2006/relationships/image" Target="../media/image159.svg"/><Relationship Id="rId17" Type="http://schemas.openxmlformats.org/officeDocument/2006/relationships/image" Target="../media/image58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63.svg"/><Relationship Id="rId20" Type="http://schemas.openxmlformats.org/officeDocument/2006/relationships/image" Target="../media/image61.svg"/><Relationship Id="rId1" Type="http://schemas.openxmlformats.org/officeDocument/2006/relationships/tags" Target="../tags/tag478.xml"/><Relationship Id="rId6" Type="http://schemas.openxmlformats.org/officeDocument/2006/relationships/image" Target="../media/image153.png"/><Relationship Id="rId11" Type="http://schemas.openxmlformats.org/officeDocument/2006/relationships/image" Target="../media/image158.png"/><Relationship Id="rId5" Type="http://schemas.openxmlformats.org/officeDocument/2006/relationships/image" Target="../media/image152.emf"/><Relationship Id="rId15" Type="http://schemas.openxmlformats.org/officeDocument/2006/relationships/image" Target="../media/image162.png"/><Relationship Id="rId10" Type="http://schemas.openxmlformats.org/officeDocument/2006/relationships/image" Target="../media/image157.svg"/><Relationship Id="rId19" Type="http://schemas.openxmlformats.org/officeDocument/2006/relationships/image" Target="../media/image60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156.png"/><Relationship Id="rId14" Type="http://schemas.openxmlformats.org/officeDocument/2006/relationships/image" Target="../media/image161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79.xml"/><Relationship Id="rId6" Type="http://schemas.openxmlformats.org/officeDocument/2006/relationships/image" Target="../media/image60.png"/><Relationship Id="rId5" Type="http://schemas.openxmlformats.org/officeDocument/2006/relationships/image" Target="../media/image164.emf"/><Relationship Id="rId4" Type="http://schemas.openxmlformats.org/officeDocument/2006/relationships/oleObject" Target="../embeddings/oleObject100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1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6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22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6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oleObject" Target="../embeddings/oleObject66.bin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23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emf"/><Relationship Id="rId9" Type="http://schemas.openxmlformats.org/officeDocument/2006/relationships/image" Target="../media/image6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0.png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image" Target="../media/image72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26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7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9338F-A543-EF0C-2474-BEE6A8CD41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C87829-79C3-180F-57D5-8D2A7BEA6D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7517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C87829-79C3-180F-57D5-8D2A7BEA6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E77951-CA89-8835-1B58-2C688C8F7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255" y="1194921"/>
            <a:ext cx="9632437" cy="686983"/>
          </a:xfrm>
        </p:spPr>
        <p:txBody>
          <a:bodyPr vert="horz"/>
          <a:lstStyle/>
          <a:p>
            <a:r>
              <a:rPr lang="en-US" sz="2400" dirty="0"/>
              <a:t>https://</a:t>
            </a:r>
            <a:r>
              <a:rPr lang="en-US" sz="2400" dirty="0" err="1"/>
              <a:t>github.com</a:t>
            </a:r>
            <a:r>
              <a:rPr lang="en-US" sz="2400" dirty="0"/>
              <a:t>/</a:t>
            </a:r>
            <a:r>
              <a:rPr lang="en-US" sz="2400" dirty="0" err="1"/>
              <a:t>pyladiesams</a:t>
            </a:r>
            <a:r>
              <a:rPr lang="en-US" sz="2400" dirty="0"/>
              <a:t>/kedro-prod-ready-ds-pipelines-aug2025</a:t>
            </a:r>
          </a:p>
        </p:txBody>
      </p:sp>
      <p:pic>
        <p:nvPicPr>
          <p:cNvPr id="8" name="Picture 7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FF20E9F5-9E3F-BF8F-D6EB-EBB8E9EF48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762" y="2234762"/>
            <a:ext cx="2388476" cy="23884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C72DA60-4964-CF58-4091-B6444F9297D8}"/>
              </a:ext>
            </a:extLst>
          </p:cNvPr>
          <p:cNvSpPr txBox="1"/>
          <p:nvPr/>
        </p:nvSpPr>
        <p:spPr>
          <a:xfrm>
            <a:off x="11645462" y="652692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4767335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B1FB3-4340-1603-FB8B-4645BE049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A9BCCE02-895B-C869-D2F2-459EAF2D2F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A9BCCE02-895B-C869-D2F2-459EAF2D2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77A231F2-1F81-7D57-4977-5D0D1787935D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FC01CC-83BE-0EE9-F35F-87E18DC4D704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308270F-D33E-64FF-A5D3-21F0A45CB4EB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217A2BA-4222-7DB0-1E99-9779D33FB936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0987D68-C195-C5C3-EECB-D3BC3D2BB2F9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B88688E5-441B-2B91-F1E0-3AA4ADF76974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4277170-73A3-81CC-9E9E-E360344E6F04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A1C91F81-08B1-C6CF-F50A-B116E76971E8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DC2458D2-9E17-74C9-AB63-FD915F36DA36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DDEFA6A-0ED5-B856-F555-D5A373C27B53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146752-92BB-AAD5-102D-79AF4A9068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217" y="3137952"/>
            <a:ext cx="6858572" cy="307777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Intro to Kedr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A9AB9-B0FD-2681-4799-7AE8F4C6B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2</a:t>
            </a:r>
          </a:p>
        </p:txBody>
      </p:sp>
      <p:pic>
        <p:nvPicPr>
          <p:cNvPr id="6" name="Picture Placeholder 9">
            <a:extLst>
              <a:ext uri="{FF2B5EF4-FFF2-40B4-BE49-F238E27FC236}">
                <a16:creationId xmlns:a16="http://schemas.microsoft.com/office/drawing/2014/main" id="{368A8BA8-11BB-A614-B989-9238A55447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920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587A121-6422-0862-25D8-843D0A7DEC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587A121-6422-0862-25D8-843D0A7DE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6CDE72B-F4D1-71E0-A26F-2A05D2BD906C}"/>
              </a:ext>
            </a:extLst>
          </p:cNvPr>
          <p:cNvSpPr/>
          <p:nvPr/>
        </p:nvSpPr>
        <p:spPr>
          <a:xfrm>
            <a:off x="554104" y="480854"/>
            <a:ext cx="3245385" cy="5409406"/>
          </a:xfrm>
          <a:prstGeom prst="roundRect">
            <a:avLst>
              <a:gd name="adj" fmla="val 7800"/>
            </a:avLst>
          </a:prstGeom>
          <a:noFill/>
          <a:ln w="127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F2C460-0D49-0532-BB95-43BE8E6286AF}"/>
              </a:ext>
            </a:extLst>
          </p:cNvPr>
          <p:cNvSpPr txBox="1"/>
          <p:nvPr/>
        </p:nvSpPr>
        <p:spPr>
          <a:xfrm>
            <a:off x="1757477" y="2052493"/>
            <a:ext cx="8386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800" b="1" dirty="0"/>
              <a:t>Kedr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75B738-7FB9-FFAA-507E-7CD9C27D2C6D}"/>
              </a:ext>
            </a:extLst>
          </p:cNvPr>
          <p:cNvSpPr txBox="1"/>
          <p:nvPr/>
        </p:nvSpPr>
        <p:spPr>
          <a:xfrm>
            <a:off x="944703" y="2584054"/>
            <a:ext cx="2464186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400" dirty="0"/>
              <a:t>An open-source Python toolbox that applies software engineering principles to data science code, making it easier to transition from prototype to produ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4B3CC5-3AE9-FFD7-7935-DBDE026AC074}"/>
              </a:ext>
            </a:extLst>
          </p:cNvPr>
          <p:cNvSpPr txBox="1"/>
          <p:nvPr/>
        </p:nvSpPr>
        <p:spPr>
          <a:xfrm>
            <a:off x="1543438" y="4131278"/>
            <a:ext cx="126671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rgbClr val="B3B3B3"/>
                </a:solidFill>
              </a:rPr>
              <a:t>FOUNDED 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73786E-9C6D-6DCB-4987-16F4F91E5F62}"/>
              </a:ext>
            </a:extLst>
          </p:cNvPr>
          <p:cNvSpPr txBox="1"/>
          <p:nvPr/>
        </p:nvSpPr>
        <p:spPr>
          <a:xfrm>
            <a:off x="1921346" y="4443225"/>
            <a:ext cx="5109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400" dirty="0">
                <a:latin typeface="+mj-lt"/>
              </a:rPr>
              <a:t>201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368CAF-ACBF-969A-3F40-70914DE32C76}"/>
              </a:ext>
            </a:extLst>
          </p:cNvPr>
          <p:cNvSpPr txBox="1"/>
          <p:nvPr/>
        </p:nvSpPr>
        <p:spPr>
          <a:xfrm>
            <a:off x="1174789" y="4913231"/>
            <a:ext cx="200401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200" b="1" dirty="0">
                <a:solidFill>
                  <a:srgbClr val="B3B3B3"/>
                </a:solidFill>
              </a:rPr>
              <a:t>STATU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4298BF-3D18-A012-7D06-D22B6AA40B5A}"/>
              </a:ext>
            </a:extLst>
          </p:cNvPr>
          <p:cNvSpPr txBox="1"/>
          <p:nvPr/>
        </p:nvSpPr>
        <p:spPr>
          <a:xfrm>
            <a:off x="4375640" y="480853"/>
            <a:ext cx="118280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2000" dirty="0">
                <a:latin typeface="+mj-lt"/>
              </a:rPr>
              <a:t>Benefi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90122D-ABD1-8000-1C6D-7FC31705D9F5}"/>
              </a:ext>
            </a:extLst>
          </p:cNvPr>
          <p:cNvSpPr txBox="1">
            <a:spLocks/>
          </p:cNvSpPr>
          <p:nvPr/>
        </p:nvSpPr>
        <p:spPr>
          <a:xfrm>
            <a:off x="4412705" y="1220166"/>
            <a:ext cx="3688114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200" b="1" dirty="0">
                <a:solidFill>
                  <a:schemeClr val="accent1"/>
                </a:solidFill>
                <a:cs typeface="Arial"/>
              </a:rPr>
              <a:t>Reduces </a:t>
            </a:r>
            <a:r>
              <a:rPr lang="en-GB" sz="1200" b="1" dirty="0">
                <a:solidFill>
                  <a:schemeClr val="accent1"/>
                </a:solidFill>
                <a:effectLst/>
                <a:cs typeface="Arial"/>
              </a:rPr>
              <a:t>the time spent rewriting data science experiments</a:t>
            </a:r>
            <a:r>
              <a:rPr lang="en-GB" sz="1200" b="1" dirty="0">
                <a:solidFill>
                  <a:schemeClr val="accent2"/>
                </a:solidFill>
                <a:effectLst/>
                <a:cs typeface="Arial"/>
              </a:rPr>
              <a:t> </a:t>
            </a:r>
            <a:r>
              <a:rPr lang="en-GB" sz="1200" dirty="0">
                <a:effectLst/>
                <a:cs typeface="Arial"/>
              </a:rPr>
              <a:t>so that they are fit for production.</a:t>
            </a:r>
            <a:br>
              <a:rPr lang="en-GB" sz="1200" dirty="0">
                <a:effectLst/>
              </a:rPr>
            </a:br>
            <a:br>
              <a:rPr lang="en-GB" sz="1200" dirty="0">
                <a:effectLst/>
              </a:rPr>
            </a:br>
            <a:r>
              <a:rPr lang="en-GB" sz="1200" dirty="0"/>
              <a:t>Encourage </a:t>
            </a:r>
            <a:r>
              <a:rPr lang="en-GB" sz="1200" b="1" dirty="0">
                <a:solidFill>
                  <a:schemeClr val="accent1"/>
                </a:solidFill>
              </a:rPr>
              <a:t>harmonious team collaboration </a:t>
            </a:r>
            <a:r>
              <a:rPr lang="en-GB" sz="1200" dirty="0"/>
              <a:t>and improve productivity.</a:t>
            </a:r>
            <a:br>
              <a:rPr lang="en-GB" sz="1200" dirty="0">
                <a:effectLst/>
              </a:rPr>
            </a:br>
            <a:br>
              <a:rPr lang="en-GB" sz="1200" dirty="0">
                <a:effectLst/>
              </a:rPr>
            </a:br>
            <a:r>
              <a:rPr lang="en-GB" sz="1200" b="1" dirty="0">
                <a:solidFill>
                  <a:schemeClr val="accent1"/>
                </a:solidFill>
                <a:cs typeface="Arial"/>
              </a:rPr>
              <a:t>Upskills</a:t>
            </a:r>
            <a:r>
              <a:rPr lang="en-GB" sz="1200" dirty="0">
                <a:effectLst/>
                <a:cs typeface="Arial"/>
              </a:rPr>
              <a:t> all collaborators on how to apply software engineering principles to data science code.</a:t>
            </a:r>
            <a:r>
              <a:rPr lang="en-GB" sz="1200" dirty="0">
                <a:cs typeface="Arial"/>
              </a:rPr>
              <a:t> </a:t>
            </a:r>
            <a:endParaRPr lang="en-GB" sz="1200" dirty="0">
              <a:effectLst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1CA9FB-A855-4C4D-A983-7C6A2CC0AC64}"/>
              </a:ext>
            </a:extLst>
          </p:cNvPr>
          <p:cNvCxnSpPr/>
          <p:nvPr/>
        </p:nvCxnSpPr>
        <p:spPr>
          <a:xfrm>
            <a:off x="4375640" y="1004398"/>
            <a:ext cx="328190" cy="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D86A266D-B61A-63C0-B912-2C55064BBDDA}"/>
              </a:ext>
            </a:extLst>
          </p:cNvPr>
          <p:cNvSpPr txBox="1">
            <a:spLocks/>
          </p:cNvSpPr>
          <p:nvPr/>
        </p:nvSpPr>
        <p:spPr>
          <a:xfrm>
            <a:off x="4412705" y="4239531"/>
            <a:ext cx="3688114" cy="8793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tIns="46800" bIns="468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4000" b="1" dirty="0">
                <a:latin typeface="+mj-lt"/>
              </a:rPr>
              <a:t>+500,000</a:t>
            </a:r>
            <a:br>
              <a:rPr lang="en-US" sz="3600" b="1" dirty="0">
                <a:latin typeface="Arial"/>
              </a:rPr>
            </a:br>
            <a:r>
              <a:rPr lang="en-US" sz="1100" b="1" dirty="0">
                <a:solidFill>
                  <a:schemeClr val="accent1"/>
                </a:solidFill>
                <a:latin typeface="Arial"/>
              </a:rPr>
              <a:t>MONTHLY DOWNLOADS</a:t>
            </a:r>
            <a:endParaRPr lang="en-US" b="1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C5FAB0-D635-DFC9-BCD4-31E8D74D9E4C}"/>
              </a:ext>
            </a:extLst>
          </p:cNvPr>
          <p:cNvSpPr txBox="1">
            <a:spLocks/>
          </p:cNvSpPr>
          <p:nvPr/>
        </p:nvSpPr>
        <p:spPr>
          <a:xfrm>
            <a:off x="4412705" y="3129030"/>
            <a:ext cx="3688114" cy="8947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tIns="46800" bIns="468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4000" b="1" dirty="0">
                <a:latin typeface="+mj-lt"/>
              </a:rPr>
              <a:t>+10,000</a:t>
            </a:r>
            <a:br>
              <a:rPr lang="en-US" sz="3600" b="1" dirty="0">
                <a:latin typeface="Arial"/>
              </a:rPr>
            </a:br>
            <a:r>
              <a:rPr lang="en-US" sz="1100" b="1" dirty="0">
                <a:solidFill>
                  <a:schemeClr val="accent1"/>
                </a:solidFill>
                <a:latin typeface="Arial"/>
              </a:rPr>
              <a:t>GITHUB STARS</a:t>
            </a:r>
            <a:endParaRPr lang="en-US" b="1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CC9C32-5D70-7141-C48D-D2E1FADADB03}"/>
              </a:ext>
            </a:extLst>
          </p:cNvPr>
          <p:cNvSpPr txBox="1"/>
          <p:nvPr/>
        </p:nvSpPr>
        <p:spPr>
          <a:xfrm>
            <a:off x="8837252" y="480853"/>
            <a:ext cx="243595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2000" dirty="0">
                <a:latin typeface="+mj-lt"/>
              </a:rPr>
              <a:t>Enterprise adop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4CCD6F7-139E-CC52-22E7-21E7106753F0}"/>
              </a:ext>
            </a:extLst>
          </p:cNvPr>
          <p:cNvCxnSpPr/>
          <p:nvPr/>
        </p:nvCxnSpPr>
        <p:spPr>
          <a:xfrm>
            <a:off x="8837253" y="1004398"/>
            <a:ext cx="328190" cy="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F5A951E5-7E2A-4F03-DE6E-0DA0666948D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 t="11099" b="10473"/>
          <a:stretch/>
        </p:blipFill>
        <p:spPr>
          <a:xfrm>
            <a:off x="8837252" y="3196313"/>
            <a:ext cx="1524906" cy="32761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36DEE09-6915-BE1C-33F8-8CE9A035314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 t="34295" b="33760"/>
          <a:stretch/>
        </p:blipFill>
        <p:spPr>
          <a:xfrm>
            <a:off x="8842917" y="1622774"/>
            <a:ext cx="1522104" cy="27350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EECC496-C156-CD21-199C-4CA4707BFB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37252" y="2827443"/>
            <a:ext cx="1198259" cy="20513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4250E86-78D0-6BEB-E6A2-F71D6413574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42916" y="2438696"/>
            <a:ext cx="1133043" cy="20513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FE4598E-CD87-88D4-8921-D323FA4C80B4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15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</a:extLst>
          </a:blip>
          <a:srcRect t="35881" b="33835"/>
          <a:stretch/>
        </p:blipFill>
        <p:spPr>
          <a:xfrm>
            <a:off x="8842916" y="2022010"/>
            <a:ext cx="1284463" cy="218806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DA9239CA-1B47-C676-D880-0931221E118E}"/>
              </a:ext>
            </a:extLst>
          </p:cNvPr>
          <p:cNvGrpSpPr/>
          <p:nvPr/>
        </p:nvGrpSpPr>
        <p:grpSpPr>
          <a:xfrm>
            <a:off x="8817534" y="3684464"/>
            <a:ext cx="1309845" cy="287451"/>
            <a:chOff x="8512132" y="5946682"/>
            <a:chExt cx="2074378" cy="462188"/>
          </a:xfrm>
        </p:grpSpPr>
        <p:pic>
          <p:nvPicPr>
            <p:cNvPr id="39" name="Picture 38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5889FF0B-511B-FD64-8A2F-393C4EFA71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rcRect t="2735" b="-1492"/>
            <a:stretch/>
          </p:blipFill>
          <p:spPr>
            <a:xfrm>
              <a:off x="9764831" y="5946682"/>
              <a:ext cx="821679" cy="462188"/>
            </a:xfrm>
            <a:prstGeom prst="rect">
              <a:avLst/>
            </a:prstGeom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065A605-56F9-335F-C125-4A9021248401}"/>
                </a:ext>
              </a:extLst>
            </p:cNvPr>
            <p:cNvGrpSpPr/>
            <p:nvPr/>
          </p:nvGrpSpPr>
          <p:grpSpPr>
            <a:xfrm>
              <a:off x="8512132" y="5961776"/>
              <a:ext cx="1086569" cy="432000"/>
              <a:chOff x="8512132" y="5960706"/>
              <a:chExt cx="1086569" cy="432000"/>
            </a:xfrm>
          </p:grpSpPr>
          <p:pic>
            <p:nvPicPr>
              <p:cNvPr id="43" name="Picture 42" descr="Icon&#10;&#10;Description automatically generated">
                <a:extLst>
                  <a:ext uri="{FF2B5EF4-FFF2-40B4-BE49-F238E27FC236}">
                    <a16:creationId xmlns:a16="http://schemas.microsoft.com/office/drawing/2014/main" id="{BE7A1947-CDFA-EDAB-AE4A-8E31712D3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rightnessContrast bright="-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512132" y="5960706"/>
                <a:ext cx="432000" cy="432000"/>
              </a:xfrm>
              <a:prstGeom prst="rect">
                <a:avLst/>
              </a:prstGeom>
            </p:spPr>
          </p:pic>
          <p:pic>
            <p:nvPicPr>
              <p:cNvPr id="45" name="Picture 44" descr="Logo&#10;&#10;Description automatically generated">
                <a:extLst>
                  <a:ext uri="{FF2B5EF4-FFF2-40B4-BE49-F238E27FC236}">
                    <a16:creationId xmlns:a16="http://schemas.microsoft.com/office/drawing/2014/main" id="{588A85BF-BC10-5F5E-DF37-4FDA8214E85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/>
              <a:srcRect l="28158" t="10103" r="31285" b="9827"/>
              <a:stretch/>
            </p:blipFill>
            <p:spPr>
              <a:xfrm>
                <a:off x="9161062" y="5960706"/>
                <a:ext cx="437639" cy="432000"/>
              </a:xfrm>
              <a:prstGeom prst="rect">
                <a:avLst/>
              </a:prstGeom>
            </p:spPr>
          </p:pic>
        </p:grp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7873D23-D6B7-29ED-751D-38786EE631AC}"/>
              </a:ext>
            </a:extLst>
          </p:cNvPr>
          <p:cNvSpPr txBox="1">
            <a:spLocks/>
          </p:cNvSpPr>
          <p:nvPr/>
        </p:nvSpPr>
        <p:spPr>
          <a:xfrm>
            <a:off x="4412705" y="5334644"/>
            <a:ext cx="3688114" cy="8793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tIns="46800" bIns="4680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4000" b="1" dirty="0">
                <a:latin typeface="+mj-lt"/>
              </a:rPr>
              <a:t>+29,000,000</a:t>
            </a:r>
            <a:br>
              <a:rPr lang="en-US" sz="3600" b="1" dirty="0">
                <a:latin typeface="Arial"/>
              </a:rPr>
            </a:br>
            <a:r>
              <a:rPr lang="en-US" sz="1100" b="1" dirty="0">
                <a:solidFill>
                  <a:schemeClr val="accent1"/>
                </a:solidFill>
                <a:latin typeface="Arial"/>
              </a:rPr>
              <a:t>PIPELINE RUNS IN 2023</a:t>
            </a:r>
            <a:endParaRPr lang="en-US" b="1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6E18A7-79E2-90DC-7FCB-94CBD9397D3B}"/>
              </a:ext>
            </a:extLst>
          </p:cNvPr>
          <p:cNvSpPr txBox="1"/>
          <p:nvPr/>
        </p:nvSpPr>
        <p:spPr>
          <a:xfrm>
            <a:off x="8817534" y="4465816"/>
            <a:ext cx="243595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2000" dirty="0">
                <a:latin typeface="+mj-lt"/>
              </a:rPr>
              <a:t>Developed b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36428B-7A55-39DE-B3E1-D7370027250E}"/>
              </a:ext>
            </a:extLst>
          </p:cNvPr>
          <p:cNvCxnSpPr/>
          <p:nvPr/>
        </p:nvCxnSpPr>
        <p:spPr>
          <a:xfrm>
            <a:off x="8817535" y="4989361"/>
            <a:ext cx="328190" cy="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Placeholder 9">
            <a:extLst>
              <a:ext uri="{FF2B5EF4-FFF2-40B4-BE49-F238E27FC236}">
                <a16:creationId xmlns:a16="http://schemas.microsoft.com/office/drawing/2014/main" id="{92F827CB-3B73-9BD5-4F73-BFF4D1F6D4D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BAB9A63-DD01-36FD-5AA4-767A17FE6E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" name="Picture 2" descr="adversarial-robustness-toolbox/README.md at main · Trusted-AI/adversarial-robustness-toolbox  · GitHub">
            <a:extLst>
              <a:ext uri="{FF2B5EF4-FFF2-40B4-BE49-F238E27FC236}">
                <a16:creationId xmlns:a16="http://schemas.microsoft.com/office/drawing/2014/main" id="{8B97948B-88C5-67B0-E628-40A49249B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942" y="5234635"/>
            <a:ext cx="1226397" cy="410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>
            <a:extLst>
              <a:ext uri="{FF2B5EF4-FFF2-40B4-BE49-F238E27FC236}">
                <a16:creationId xmlns:a16="http://schemas.microsoft.com/office/drawing/2014/main" id="{B6C6B890-1C3F-35C3-40E6-E7BD20E97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3233" y="1173010"/>
            <a:ext cx="1403200" cy="26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ociété Générale Vector Logo - Download Free SVG Icon | Worldvectorlogo">
            <a:extLst>
              <a:ext uri="{FF2B5EF4-FFF2-40B4-BE49-F238E27FC236}">
                <a16:creationId xmlns:a16="http://schemas.microsoft.com/office/drawing/2014/main" id="{63FC99B4-5646-C8F9-6A32-481EDF04E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5075" y="5752480"/>
            <a:ext cx="1314625" cy="352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>
            <a:extLst>
              <a:ext uri="{FF2B5EF4-FFF2-40B4-BE49-F238E27FC236}">
                <a16:creationId xmlns:a16="http://schemas.microsoft.com/office/drawing/2014/main" id="{EABAC75A-642D-6306-26B7-D931981E4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0046" y="5073667"/>
            <a:ext cx="1667491" cy="726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23C852FD-0FBF-7E08-34B5-EB7E2A4423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3233" y="6255010"/>
            <a:ext cx="1142726" cy="290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Dagster Brand: How to use the Dagster brand assets">
            <a:extLst>
              <a:ext uri="{FF2B5EF4-FFF2-40B4-BE49-F238E27FC236}">
                <a16:creationId xmlns:a16="http://schemas.microsoft.com/office/drawing/2014/main" id="{0C538146-BA3E-6F60-498A-0FD84A9AA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512" y="5764449"/>
            <a:ext cx="1127416" cy="322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QuantumBlack | McKinsey &amp; Company">
            <a:extLst>
              <a:ext uri="{FF2B5EF4-FFF2-40B4-BE49-F238E27FC236}">
                <a16:creationId xmlns:a16="http://schemas.microsoft.com/office/drawing/2014/main" id="{1FC70DEB-DE60-DD4D-7B21-3416C5AAC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3772" y="5173525"/>
            <a:ext cx="1935285" cy="481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2394C09-AD33-505F-3951-2DDDEF9FE3B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572256" y="732231"/>
            <a:ext cx="1141768" cy="114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69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07B3F0D6-A481-8779-BA6A-2AAC2B37F4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07B3F0D6-A481-8779-BA6A-2AAC2B37F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57B9515-2FE9-6F02-AC92-8CDC65006050}"/>
              </a:ext>
            </a:extLst>
          </p:cNvPr>
          <p:cNvSpPr txBox="1"/>
          <p:nvPr/>
        </p:nvSpPr>
        <p:spPr>
          <a:xfrm>
            <a:off x="740367" y="1951672"/>
            <a:ext cx="10711266" cy="295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4800" dirty="0">
                <a:latin typeface="+mj-lt"/>
              </a:rPr>
              <a:t>We built Kedro to </a:t>
            </a:r>
            <a:r>
              <a:rPr lang="en-US" sz="4800" dirty="0">
                <a:solidFill>
                  <a:schemeClr val="accent1"/>
                </a:solidFill>
                <a:latin typeface="+mj-lt"/>
              </a:rPr>
              <a:t>reduce technical debt</a:t>
            </a:r>
            <a:r>
              <a:rPr lang="en-US" sz="4800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US" sz="4800" dirty="0">
                <a:latin typeface="+mj-lt"/>
              </a:rPr>
              <a:t>in data science experiments, making an </a:t>
            </a:r>
            <a:r>
              <a:rPr lang="en-US" sz="4800" dirty="0">
                <a:solidFill>
                  <a:schemeClr val="accent1"/>
                </a:solidFill>
                <a:latin typeface="+mj-lt"/>
              </a:rPr>
              <a:t>easier transition from experimentation to production</a:t>
            </a:r>
          </a:p>
        </p:txBody>
      </p:sp>
      <p:pic>
        <p:nvPicPr>
          <p:cNvPr id="4" name="Picture Placeholder 9">
            <a:extLst>
              <a:ext uri="{FF2B5EF4-FFF2-40B4-BE49-F238E27FC236}">
                <a16:creationId xmlns:a16="http://schemas.microsoft.com/office/drawing/2014/main" id="{8CB5682F-552B-8BF6-8F04-ABFBFAF639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1E6829-9E79-BD89-E817-2F4E64FA38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631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B6DDD5-7636-B393-8AB9-0AD5B6C30B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B6DDD5-7636-B393-8AB9-0AD5B6C30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304D43-3E1E-4D89-7F68-3454599AE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14280"/>
            <a:ext cx="11082528" cy="430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sz="2800" dirty="0"/>
              <a:t>What does </a:t>
            </a:r>
            <a:r>
              <a:rPr lang="en-US" sz="2800" dirty="0" err="1"/>
              <a:t>Kedro</a:t>
            </a:r>
            <a:r>
              <a:rPr lang="en-US" sz="2800" dirty="0"/>
              <a:t> give you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ED8AA-171A-093B-BFD2-899339E5F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1179162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 sz="1600" dirty="0">
              <a:solidFill>
                <a:srgbClr val="B3B3B3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99C71EA-E79A-78A3-D366-2F763C7C4E2A}"/>
              </a:ext>
            </a:extLst>
          </p:cNvPr>
          <p:cNvSpPr/>
          <p:nvPr/>
        </p:nvSpPr>
        <p:spPr>
          <a:xfrm>
            <a:off x="3713316" y="5883553"/>
            <a:ext cx="2411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NE OF INFLUENCE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61E8C7DA-9CF9-8B09-F74E-C4D87E9EAEE1}"/>
              </a:ext>
            </a:extLst>
          </p:cNvPr>
          <p:cNvGrpSpPr/>
          <p:nvPr/>
        </p:nvGrpSpPr>
        <p:grpSpPr>
          <a:xfrm>
            <a:off x="618236" y="3450020"/>
            <a:ext cx="10855579" cy="738664"/>
            <a:chOff x="618236" y="3056259"/>
            <a:chExt cx="10855579" cy="738664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49294B5-CE26-6F6C-4E09-FA177C25C250}"/>
                </a:ext>
              </a:extLst>
            </p:cNvPr>
            <p:cNvSpPr>
              <a:spLocks/>
            </p:cNvSpPr>
            <p:nvPr/>
          </p:nvSpPr>
          <p:spPr>
            <a:xfrm>
              <a:off x="618236" y="3056259"/>
              <a:ext cx="20927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Inspired by </a:t>
              </a:r>
              <a:b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okiecutter</a:t>
              </a:r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 Data Scien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A65B9A5-F8D8-ECF1-34D3-D56B9D5CF948}"/>
                </a:ext>
              </a:extLst>
            </p:cNvPr>
            <p:cNvSpPr>
              <a:spLocks/>
            </p:cNvSpPr>
            <p:nvPr/>
          </p:nvSpPr>
          <p:spPr>
            <a:xfrm>
              <a:off x="2959688" y="3056259"/>
              <a:ext cx="194201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Our core declarative IO abstraction layer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9C24E32-8D05-63D9-453A-A4ABA2EFB1CA}"/>
                </a:ext>
              </a:extLst>
            </p:cNvPr>
            <p:cNvSpPr>
              <a:spLocks/>
            </p:cNvSpPr>
            <p:nvPr/>
          </p:nvSpPr>
          <p:spPr>
            <a:xfrm>
              <a:off x="5150391" y="3056259"/>
              <a:ext cx="1942019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Constructs which enable data-centric workflow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830375C-5E2F-AC40-AE40-1B80B5E4E53C}"/>
                </a:ext>
              </a:extLst>
            </p:cNvPr>
            <p:cNvSpPr>
              <a:spLocks/>
            </p:cNvSpPr>
            <p:nvPr/>
          </p:nvSpPr>
          <p:spPr>
            <a:xfrm>
              <a:off x="9531796" y="3056259"/>
              <a:ext cx="1942019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Inherit, hook in or plug-in to make Kedro work for you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A4A473F-0A5A-7904-214A-0F76B1090630}"/>
                </a:ext>
              </a:extLst>
            </p:cNvPr>
            <p:cNvSpPr>
              <a:spLocks/>
            </p:cNvSpPr>
            <p:nvPr/>
          </p:nvSpPr>
          <p:spPr>
            <a:xfrm>
              <a:off x="7341094" y="3056259"/>
              <a:ext cx="194201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Constructs to facilitate debugging</a:t>
              </a: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6D323C73-7F9C-50C2-8D52-C85CDD7DECD8}"/>
              </a:ext>
            </a:extLst>
          </p:cNvPr>
          <p:cNvSpPr txBox="1">
            <a:spLocks/>
          </p:cNvSpPr>
          <p:nvPr/>
        </p:nvSpPr>
        <p:spPr>
          <a:xfrm>
            <a:off x="2959688" y="2860900"/>
            <a:ext cx="1942019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Data Catalo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46F6B97-0DAB-07E0-DCC1-6191B4A19C31}"/>
              </a:ext>
            </a:extLst>
          </p:cNvPr>
          <p:cNvSpPr txBox="1">
            <a:spLocks/>
          </p:cNvSpPr>
          <p:nvPr/>
        </p:nvSpPr>
        <p:spPr>
          <a:xfrm>
            <a:off x="5150391" y="2860900"/>
            <a:ext cx="1942019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Nodes + Pipelin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B9B65A6-5F55-63A6-4C91-9122BE4E3E41}"/>
              </a:ext>
            </a:extLst>
          </p:cNvPr>
          <p:cNvSpPr txBox="1">
            <a:spLocks/>
          </p:cNvSpPr>
          <p:nvPr/>
        </p:nvSpPr>
        <p:spPr>
          <a:xfrm>
            <a:off x="9531796" y="2860900"/>
            <a:ext cx="1942019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Extensibility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C28BF51-44A3-7946-976A-53F4C2EC0038}"/>
              </a:ext>
            </a:extLst>
          </p:cNvPr>
          <p:cNvSpPr txBox="1">
            <a:spLocks/>
          </p:cNvSpPr>
          <p:nvPr/>
        </p:nvSpPr>
        <p:spPr>
          <a:xfrm>
            <a:off x="618236" y="2860900"/>
            <a:ext cx="209276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Project Templat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9FB2C5-F4EB-040E-2F4F-893EC7ABC364}"/>
              </a:ext>
            </a:extLst>
          </p:cNvPr>
          <p:cNvSpPr txBox="1">
            <a:spLocks/>
          </p:cNvSpPr>
          <p:nvPr/>
        </p:nvSpPr>
        <p:spPr>
          <a:xfrm>
            <a:off x="7341093" y="2783955"/>
            <a:ext cx="1942019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Run status </a:t>
            </a:r>
            <a:r>
              <a:rPr lang="en-US" b="1" dirty="0" err="1"/>
              <a:t>visualisation</a:t>
            </a:r>
            <a:endParaRPr lang="en-US" b="1" dirty="0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E4111563-396D-7E93-745A-EA28886294C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745439" y="4535927"/>
            <a:ext cx="2319717" cy="908050"/>
            <a:chOff x="2658244" y="3642665"/>
            <a:chExt cx="2319717" cy="908050"/>
          </a:xfrm>
          <a:solidFill>
            <a:schemeClr val="accent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DED2CF2-46B4-6624-8473-881D700594E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2658244" y="3642665"/>
              <a:ext cx="2319717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9941" y="0"/>
                  </a:lnTo>
                  <a:lnTo>
                    <a:pt x="1828800" y="457200"/>
                  </a:lnTo>
                  <a:lnTo>
                    <a:pt x="1699941" y="914400"/>
                  </a:lnTo>
                  <a:lnTo>
                    <a:pt x="0" y="914400"/>
                  </a:lnTo>
                  <a:lnTo>
                    <a:pt x="128859" y="457200"/>
                  </a:lnTo>
                  <a:close/>
                </a:path>
              </a:pathLst>
            </a:custGeom>
            <a:grpFill/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3783166-693F-D03C-2ED7-E4D1425F3898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2872493" y="3705724"/>
              <a:ext cx="1942019" cy="781932"/>
            </a:xfrm>
            <a:prstGeom prst="rect">
              <a:avLst/>
            </a:prstGeom>
            <a:grpFill/>
          </p:spPr>
          <p:txBody>
            <a:bodyPr vert="horz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lean &amp; </a:t>
              </a:r>
              <a:br>
                <a:rPr lang="en-US" dirty="0"/>
              </a:br>
              <a:r>
                <a:rPr lang="en-US" dirty="0"/>
                <a:t>Join Data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EB2B29D-99A9-5CF3-2FD8-6650CEE7992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736" y="4535927"/>
            <a:ext cx="2319717" cy="908050"/>
            <a:chOff x="554736" y="3642665"/>
            <a:chExt cx="2319717" cy="908050"/>
          </a:xfrm>
          <a:solidFill>
            <a:schemeClr val="accent1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5E006BE-4D58-C19A-503B-E3F386DC1E49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554736" y="3642665"/>
              <a:ext cx="2319717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9941" y="0"/>
                  </a:lnTo>
                  <a:lnTo>
                    <a:pt x="1828800" y="457200"/>
                  </a:lnTo>
                  <a:lnTo>
                    <a:pt x="1699941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6B50F5B-D584-DDCC-67DF-9AF65410C96D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618236" y="3705724"/>
              <a:ext cx="2092768" cy="781932"/>
            </a:xfrm>
            <a:prstGeom prst="rect">
              <a:avLst/>
            </a:prstGeom>
            <a:grpFill/>
          </p:spPr>
          <p:txBody>
            <a:bodyPr vert="horz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Ingest </a:t>
              </a:r>
              <a:br>
                <a:rPr lang="en-US" dirty="0"/>
              </a:br>
              <a:r>
                <a:rPr lang="en-US" dirty="0"/>
                <a:t>Raw Data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AF85E3F-C6D9-A228-EF8A-265E984DE7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936142" y="4535927"/>
            <a:ext cx="2319717" cy="908050"/>
            <a:chOff x="4878012" y="3642665"/>
            <a:chExt cx="2319717" cy="908050"/>
          </a:xfrm>
          <a:solidFill>
            <a:schemeClr val="accent1"/>
          </a:solidFill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A23A461-F37D-6D9F-F078-D1B942E4FC84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878012" y="3642665"/>
              <a:ext cx="2319717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9941" y="0"/>
                  </a:lnTo>
                  <a:lnTo>
                    <a:pt x="1828800" y="457200"/>
                  </a:lnTo>
                  <a:lnTo>
                    <a:pt x="1699941" y="914400"/>
                  </a:lnTo>
                  <a:lnTo>
                    <a:pt x="0" y="914400"/>
                  </a:lnTo>
                  <a:lnTo>
                    <a:pt x="128859" y="457200"/>
                  </a:lnTo>
                  <a:close/>
                </a:path>
              </a:pathLst>
            </a:custGeom>
            <a:grpFill/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CA6BB85-19F6-41D2-41BF-DF513C610CF3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5092261" y="3705724"/>
              <a:ext cx="1942019" cy="781932"/>
            </a:xfrm>
            <a:prstGeom prst="rect">
              <a:avLst/>
            </a:prstGeom>
            <a:grpFill/>
          </p:spPr>
          <p:txBody>
            <a:bodyPr vert="horz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Engineer </a:t>
              </a:r>
              <a:br>
                <a:rPr lang="en-US" dirty="0"/>
              </a:br>
              <a:r>
                <a:rPr lang="en-US" dirty="0"/>
                <a:t>Features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FB3A34A-57A7-910B-06D8-1F61A3EA606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126845" y="4535927"/>
            <a:ext cx="2319717" cy="908050"/>
            <a:chOff x="7097780" y="3642665"/>
            <a:chExt cx="2319717" cy="908050"/>
          </a:xfrm>
          <a:solidFill>
            <a:schemeClr val="accent1"/>
          </a:solidFill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8221A2E-990A-614D-92FF-AD3BA2B9D365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7097780" y="3642665"/>
              <a:ext cx="2319717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8162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9941" y="0"/>
                  </a:lnTo>
                  <a:lnTo>
                    <a:pt x="1828800" y="457200"/>
                  </a:lnTo>
                  <a:lnTo>
                    <a:pt x="1699941" y="914400"/>
                  </a:lnTo>
                  <a:lnTo>
                    <a:pt x="0" y="914400"/>
                  </a:lnTo>
                  <a:lnTo>
                    <a:pt x="128859" y="457200"/>
                  </a:lnTo>
                  <a:close/>
                </a:path>
              </a:pathLst>
            </a:custGeom>
            <a:grpFill/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8C076E6-26E2-C1B4-D281-1D815B45ECE7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7312029" y="3705724"/>
              <a:ext cx="1942019" cy="781932"/>
            </a:xfrm>
            <a:prstGeom prst="rect">
              <a:avLst/>
            </a:prstGeom>
            <a:grpFill/>
          </p:spPr>
          <p:txBody>
            <a:bodyPr vert="horz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Train &amp; </a:t>
              </a:r>
              <a:br>
                <a:rPr lang="en-US" dirty="0"/>
              </a:br>
              <a:r>
                <a:rPr lang="en-US" dirty="0"/>
                <a:t>Validate Model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FE980A4-BE37-0BD3-1FBC-80B168BEE11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317547" y="4535927"/>
            <a:ext cx="2319717" cy="908050"/>
            <a:chOff x="9317547" y="3642665"/>
            <a:chExt cx="2319717" cy="908050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00E5F8B-27F3-A251-FCC6-CB2D2678B748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9317547" y="3642665"/>
              <a:ext cx="2319717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47179 w 1828800"/>
                <a:gd name="connsiteY5" fmla="*/ 457200 h 914400"/>
                <a:gd name="connsiteX0" fmla="*/ 0 w 1828800"/>
                <a:gd name="connsiteY0" fmla="*/ 0 h 914400"/>
                <a:gd name="connsiteX1" fmla="*/ 1681621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81621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135658 w 1828800"/>
                <a:gd name="connsiteY5" fmla="*/ 457200 h 914400"/>
                <a:gd name="connsiteX0" fmla="*/ 0 w 1828800"/>
                <a:gd name="connsiteY0" fmla="*/ 0 h 914400"/>
                <a:gd name="connsiteX1" fmla="*/ 1693142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314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  <a:gd name="connsiteX0" fmla="*/ 0 w 1828800"/>
                <a:gd name="connsiteY0" fmla="*/ 0 h 914400"/>
                <a:gd name="connsiteX1" fmla="*/ 1699941 w 1828800"/>
                <a:gd name="connsiteY1" fmla="*/ 0 h 914400"/>
                <a:gd name="connsiteX2" fmla="*/ 1828800 w 1828800"/>
                <a:gd name="connsiteY2" fmla="*/ 457200 h 914400"/>
                <a:gd name="connsiteX3" fmla="*/ 1699941 w 1828800"/>
                <a:gd name="connsiteY3" fmla="*/ 914400 h 914400"/>
                <a:gd name="connsiteX4" fmla="*/ 0 w 1828800"/>
                <a:gd name="connsiteY4" fmla="*/ 914400 h 914400"/>
                <a:gd name="connsiteX5" fmla="*/ 128859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9941" y="0"/>
                  </a:lnTo>
                  <a:lnTo>
                    <a:pt x="1828800" y="457200"/>
                  </a:lnTo>
                  <a:lnTo>
                    <a:pt x="1699941" y="914400"/>
                  </a:lnTo>
                  <a:lnTo>
                    <a:pt x="0" y="914400"/>
                  </a:lnTo>
                  <a:lnTo>
                    <a:pt x="128859" y="457200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3F1ADAC-9F16-66EE-02FC-6A6F7A7C4F27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9531796" y="3705724"/>
              <a:ext cx="1942019" cy="781932"/>
            </a:xfrm>
            <a:prstGeom prst="rect">
              <a:avLst/>
            </a:prstGeom>
          </p:spPr>
          <p:txBody>
            <a:bodyPr vert="horz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Deploy </a:t>
              </a:r>
              <a:br>
                <a:rPr lang="en-US" dirty="0"/>
              </a:br>
              <a:r>
                <a:rPr lang="en-US" dirty="0"/>
                <a:t>Model</a:t>
              </a:r>
            </a:p>
          </p:txBody>
        </p:sp>
      </p:grpSp>
      <p:pic>
        <p:nvPicPr>
          <p:cNvPr id="35" name="Picture 4" descr="Apache Airflow Documentation — Airflow Documentation">
            <a:extLst>
              <a:ext uri="{FF2B5EF4-FFF2-40B4-BE49-F238E27FC236}">
                <a16:creationId xmlns:a16="http://schemas.microsoft.com/office/drawing/2014/main" id="{EDA11475-8A20-6106-6B6E-DE430FEDE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7151" y="4683112"/>
            <a:ext cx="132572" cy="13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Prefect Docs">
            <a:extLst>
              <a:ext uri="{FF2B5EF4-FFF2-40B4-BE49-F238E27FC236}">
                <a16:creationId xmlns:a16="http://schemas.microsoft.com/office/drawing/2014/main" id="{CC62E53F-AD59-316F-6E8B-F3C8BBA400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3864" y="4850673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Google Cloud launches Vertex AI, a new managed machine learning platform |  TechCrunch">
            <a:extLst>
              <a:ext uri="{FF2B5EF4-FFF2-40B4-BE49-F238E27FC236}">
                <a16:creationId xmlns:a16="http://schemas.microsoft.com/office/drawing/2014/main" id="{B8D10C05-DFEA-2941-7332-60B8B034C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5810" y="5151984"/>
            <a:ext cx="236741" cy="236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Argo Project">
            <a:extLst>
              <a:ext uri="{FF2B5EF4-FFF2-40B4-BE49-F238E27FC236}">
                <a16:creationId xmlns:a16="http://schemas.microsoft.com/office/drawing/2014/main" id="{E3942F56-48FE-4089-4E72-50E8BCC62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7593" y="4973171"/>
            <a:ext cx="172130" cy="22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CustomIcon">
            <a:extLst>
              <a:ext uri="{FF2B5EF4-FFF2-40B4-BE49-F238E27FC236}">
                <a16:creationId xmlns:a16="http://schemas.microsoft.com/office/drawing/2014/main" id="{EFD8C817-7C2E-6E36-922A-87DE9662DC3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359820" y="1908401"/>
            <a:ext cx="609600" cy="609600"/>
          </a:xfrm>
          <a:prstGeom prst="rect">
            <a:avLst/>
          </a:prstGeom>
        </p:spPr>
      </p:pic>
      <p:pic>
        <p:nvPicPr>
          <p:cNvPr id="142" name="CustomIcon">
            <a:extLst>
              <a:ext uri="{FF2B5EF4-FFF2-40B4-BE49-F238E27FC236}">
                <a16:creationId xmlns:a16="http://schemas.microsoft.com/office/drawing/2014/main" id="{E4755C84-24AA-EC35-EBAC-9D2ED93D20F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625897" y="1908401"/>
            <a:ext cx="609600" cy="609600"/>
          </a:xfrm>
          <a:prstGeom prst="rect">
            <a:avLst/>
          </a:prstGeom>
        </p:spPr>
      </p:pic>
      <p:pic>
        <p:nvPicPr>
          <p:cNvPr id="144" name="CustomIcon">
            <a:extLst>
              <a:ext uri="{FF2B5EF4-FFF2-40B4-BE49-F238E27FC236}">
                <a16:creationId xmlns:a16="http://schemas.microsoft.com/office/drawing/2014/main" id="{F3D2CA4F-15F3-BF60-3A1F-49F8C4AD469D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816601" y="1908401"/>
            <a:ext cx="609600" cy="609600"/>
          </a:xfrm>
          <a:prstGeom prst="rect">
            <a:avLst/>
          </a:prstGeom>
        </p:spPr>
      </p:pic>
      <p:pic>
        <p:nvPicPr>
          <p:cNvPr id="148" name="CustomIcon">
            <a:extLst>
              <a:ext uri="{FF2B5EF4-FFF2-40B4-BE49-F238E27FC236}">
                <a16:creationId xmlns:a16="http://schemas.microsoft.com/office/drawing/2014/main" id="{726C047A-D88E-3A7F-72BA-2F1B506A78E2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0198005" y="1908401"/>
            <a:ext cx="609600" cy="609600"/>
          </a:xfrm>
          <a:prstGeom prst="rect">
            <a:avLst/>
          </a:prstGeom>
        </p:spPr>
      </p:pic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942D12B-2D09-7ABB-1FF2-35879B464D21}"/>
              </a:ext>
            </a:extLst>
          </p:cNvPr>
          <p:cNvCxnSpPr>
            <a:cxnSpLocks/>
          </p:cNvCxnSpPr>
          <p:nvPr/>
        </p:nvCxnSpPr>
        <p:spPr>
          <a:xfrm>
            <a:off x="554736" y="5663765"/>
            <a:ext cx="8728377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Placeholder 9">
            <a:extLst>
              <a:ext uri="{FF2B5EF4-FFF2-40B4-BE49-F238E27FC236}">
                <a16:creationId xmlns:a16="http://schemas.microsoft.com/office/drawing/2014/main" id="{61D82ECF-5D17-61FB-2825-64A20385678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FF8A20-DA22-4359-715E-E3D4C46339A8}"/>
              </a:ext>
            </a:extLst>
          </p:cNvPr>
          <p:cNvSpPr txBox="1"/>
          <p:nvPr/>
        </p:nvSpPr>
        <p:spPr>
          <a:xfrm>
            <a:off x="8912772" y="300595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34F95F-4202-8F63-3336-7F7F81D329C2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3363460" y="453448"/>
            <a:ext cx="612775" cy="61277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75B844B-0322-A626-3886-31D67F1AAE00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005715" y="1890964"/>
            <a:ext cx="612775" cy="61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2693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BD3A0-AA40-2489-591C-C00329FED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2E9CAA6E-4E98-0EF9-7D62-40FD7EBCD5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2E9CAA6E-4E98-0EF9-7D62-40FD7EBCD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C7B3BA7C-1D13-D438-D92E-141B6B7A5382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8808156-A7D5-0A56-D6CA-7EF58449B477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6339403-F57A-ADDD-2EAA-A72DBB200019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FB81D5E-BC59-0496-8B18-21F2126A5E6F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33AAA7C-7246-2031-354E-D35E301FC0A1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5599026-2C1B-64A3-38E3-6BE39413E77F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340FDA7-B997-993E-61EF-B578B79269AF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290E1B8-5C38-BCD4-A05F-93E7EE91DC3A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CD5AC35-9C63-DDA8-3523-FA420218AB08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2547D6B-D5D9-AB6A-9CDD-870C940FD58E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9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467612BB-2856-5774-B914-90D58332D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3</a:t>
            </a:r>
          </a:p>
        </p:txBody>
      </p:sp>
      <p:pic>
        <p:nvPicPr>
          <p:cNvPr id="16" name="Picture Placeholder 9">
            <a:extLst>
              <a:ext uri="{FF2B5EF4-FFF2-40B4-BE49-F238E27FC236}">
                <a16:creationId xmlns:a16="http://schemas.microsoft.com/office/drawing/2014/main" id="{EDCB1C0B-8145-84C0-8929-DEA22DCD39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B7A58B2-0E2E-4312-0ECC-8AE1D2A54865}"/>
              </a:ext>
            </a:extLst>
          </p:cNvPr>
          <p:cNvSpPr txBox="1"/>
          <p:nvPr/>
        </p:nvSpPr>
        <p:spPr>
          <a:xfrm>
            <a:off x="4674079" y="3076757"/>
            <a:ext cx="6346166" cy="4001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2000" kern="100" dirty="0"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The workshop project</a:t>
            </a:r>
          </a:p>
        </p:txBody>
      </p:sp>
    </p:spTree>
    <p:extLst>
      <p:ext uri="{BB962C8B-B14F-4D97-AF65-F5344CB8AC3E}">
        <p14:creationId xmlns:p14="http://schemas.microsoft.com/office/powerpoint/2010/main" val="36618537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9A504-D9A8-EA30-61F1-1178BA9F97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3BA5FA-5597-76C8-97BA-1BC412C2F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3BA5FA-5597-76C8-97BA-1BC412C2F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901A2D-9F2C-C1C0-923F-AC21E919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255" y="1194921"/>
            <a:ext cx="9632437" cy="686983"/>
          </a:xfrm>
        </p:spPr>
        <p:txBody>
          <a:bodyPr vert="horz"/>
          <a:lstStyle/>
          <a:p>
            <a:r>
              <a:rPr lang="en-US" sz="2400" dirty="0"/>
              <a:t>https://</a:t>
            </a:r>
            <a:r>
              <a:rPr lang="en-US" sz="2400" dirty="0" err="1"/>
              <a:t>github.com</a:t>
            </a:r>
            <a:r>
              <a:rPr lang="en-US" sz="2400" dirty="0"/>
              <a:t>/</a:t>
            </a:r>
            <a:r>
              <a:rPr lang="en-US" sz="2400" dirty="0" err="1"/>
              <a:t>pyladiesams</a:t>
            </a:r>
            <a:r>
              <a:rPr lang="en-US" sz="2400" dirty="0"/>
              <a:t>/kedro-prod-ready-ds-pipelines-aug202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F8E6ED-31EF-C28E-4F8A-1ECA0E5DFD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A qr code with a white background&#10;&#10;AI-generated content may be incorrect.">
            <a:extLst>
              <a:ext uri="{FF2B5EF4-FFF2-40B4-BE49-F238E27FC236}">
                <a16:creationId xmlns:a16="http://schemas.microsoft.com/office/drawing/2014/main" id="{ECF42820-75AD-3736-E8D5-274FAED443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762" y="2234762"/>
            <a:ext cx="2388476" cy="238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599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6A586E7-29E0-C837-5732-785CACFFCE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6A586E7-29E0-C837-5732-785CACFFC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8630C7D7-252D-C00F-84CA-0FA09A3AD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ample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D0040D-4F95-C937-E642-578D8314DA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74AC76-E7BC-F612-9843-50144936F6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B9FC2-C87B-0BB0-373A-B03B0AD96C6D}"/>
              </a:ext>
            </a:extLst>
          </p:cNvPr>
          <p:cNvSpPr txBox="1"/>
          <p:nvPr/>
        </p:nvSpPr>
        <p:spPr>
          <a:xfrm>
            <a:off x="579120" y="1529624"/>
            <a:ext cx="231366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2000" dirty="0">
                <a:latin typeface="+mj-lt"/>
              </a:rPr>
              <a:t>Scenari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D5C3BB-7DB3-99E1-F679-0B70184F68F8}"/>
              </a:ext>
            </a:extLst>
          </p:cNvPr>
          <p:cNvSpPr txBox="1"/>
          <p:nvPr/>
        </p:nvSpPr>
        <p:spPr>
          <a:xfrm>
            <a:off x="579120" y="2200882"/>
            <a:ext cx="3762245" cy="196977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200" dirty="0">
                <a:cs typeface="Arial"/>
              </a:rPr>
              <a:t>The year is 2160 and the space tourism industry is booming.</a:t>
            </a:r>
          </a:p>
          <a:p>
            <a:pPr>
              <a:buNone/>
            </a:pPr>
            <a:endParaRPr lang="en-GB" sz="1200" dirty="0">
              <a:cs typeface="Arial"/>
            </a:endParaRPr>
          </a:p>
          <a:p>
            <a:pPr>
              <a:buNone/>
            </a:pPr>
            <a:r>
              <a:rPr lang="en-GB" sz="1200" dirty="0">
                <a:cs typeface="Arial"/>
              </a:rPr>
              <a:t>There are thousands of space shuttle companies taking tourists to the Moon and back.</a:t>
            </a:r>
          </a:p>
          <a:p>
            <a:pPr>
              <a:buNone/>
            </a:pPr>
            <a:endParaRPr lang="en-GB" sz="1200" dirty="0">
              <a:cs typeface="Arial"/>
            </a:endParaRPr>
          </a:p>
          <a:p>
            <a:pPr>
              <a:buNone/>
            </a:pPr>
            <a:r>
              <a:rPr lang="en-GB" sz="1200" dirty="0">
                <a:cs typeface="Arial"/>
              </a:rPr>
              <a:t>You have been able to source amenities offered in each space shuttle, customer reviews and company information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AD639CA-8F3A-BE69-C674-9B988EA2E707}"/>
              </a:ext>
            </a:extLst>
          </p:cNvPr>
          <p:cNvCxnSpPr/>
          <p:nvPr/>
        </p:nvCxnSpPr>
        <p:spPr>
          <a:xfrm>
            <a:off x="579120" y="2020779"/>
            <a:ext cx="328190" cy="0"/>
          </a:xfrm>
          <a:prstGeom prst="line">
            <a:avLst/>
          </a:prstGeom>
          <a:ln w="6350" cap="flat">
            <a:solidFill>
              <a:srgbClr val="00AAF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547B2E7-2663-D099-60BD-30D31EF89C9C}"/>
              </a:ext>
            </a:extLst>
          </p:cNvPr>
          <p:cNvSpPr txBox="1"/>
          <p:nvPr/>
        </p:nvSpPr>
        <p:spPr>
          <a:xfrm>
            <a:off x="579120" y="4478097"/>
            <a:ext cx="231366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2000" dirty="0">
                <a:latin typeface="+mj-lt"/>
              </a:rPr>
              <a:t>Go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DA2CE6-C109-61A9-5F7F-C9B992E19D9C}"/>
              </a:ext>
            </a:extLst>
          </p:cNvPr>
          <p:cNvSpPr txBox="1"/>
          <p:nvPr/>
        </p:nvSpPr>
        <p:spPr>
          <a:xfrm>
            <a:off x="579120" y="5149355"/>
            <a:ext cx="376224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GB" sz="1200" dirty="0">
                <a:cs typeface="Arial"/>
              </a:rPr>
              <a:t>Build a model to estimate the price of a return trip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45B5863-73B5-06F6-5202-B8862D8B1530}"/>
              </a:ext>
            </a:extLst>
          </p:cNvPr>
          <p:cNvCxnSpPr/>
          <p:nvPr/>
        </p:nvCxnSpPr>
        <p:spPr>
          <a:xfrm>
            <a:off x="579120" y="4969252"/>
            <a:ext cx="328190" cy="0"/>
          </a:xfrm>
          <a:prstGeom prst="line">
            <a:avLst/>
          </a:prstGeom>
          <a:ln w="6350" cap="flat">
            <a:solidFill>
              <a:srgbClr val="00AAF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screenshot of a computer&#10;&#10;Description automatically generated">
            <a:extLst>
              <a:ext uri="{FF2B5EF4-FFF2-40B4-BE49-F238E27FC236}">
                <a16:creationId xmlns:a16="http://schemas.microsoft.com/office/drawing/2014/main" id="{11FEC527-D1CE-B45C-62EA-B7A5FC53EFE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977" t="2834" r="12750" b="16629"/>
          <a:stretch/>
        </p:blipFill>
        <p:spPr>
          <a:xfrm>
            <a:off x="6888480" y="-134580"/>
            <a:ext cx="4013200" cy="6992580"/>
          </a:xfrm>
          <a:prstGeom prst="rect">
            <a:avLst/>
          </a:prstGeom>
        </p:spPr>
      </p:pic>
      <p:pic>
        <p:nvPicPr>
          <p:cNvPr id="2" name="Picture Placeholder 9">
            <a:extLst>
              <a:ext uri="{FF2B5EF4-FFF2-40B4-BE49-F238E27FC236}">
                <a16:creationId xmlns:a16="http://schemas.microsoft.com/office/drawing/2014/main" id="{2EC67CAD-FD89-FB7D-5DEF-15B15A77E6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958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E62DC1-8C80-DA86-75DB-AD021CDC6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937CB83-7842-68E7-9561-E889DDCF5F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937CB83-7842-68E7-9561-E889DDCF5F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0CC42CEE-A853-72C1-F504-7D708F37AD5C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1444ED7-FC09-515F-F3BD-A65CACA99EE2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2290459-2969-24C3-FADB-933FBDF7FB3F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1F8339D-56B4-17BB-6DB8-EA230AC213D6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416CDFDF-0778-4442-B88E-355385143F14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B51974DD-4154-5A25-2BE6-8ED49DB9C506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9A61EA8A-1344-336B-EDC5-8D71EC0ED30C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7B55622-8FD8-7746-52F0-C1286EC644C5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296FBA5-2FDE-D073-EA9C-6BD142D8FCFC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C76901E-804B-3E27-C026-C852F2190A12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66F275-652F-E0EF-6617-4A99E1B77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217" y="3137952"/>
            <a:ext cx="6858572" cy="307777"/>
          </a:xfrm>
        </p:spPr>
        <p:txBody>
          <a:bodyPr/>
          <a:lstStyle/>
          <a:p>
            <a:pPr>
              <a:buNone/>
            </a:pPr>
            <a:r>
              <a:rPr lang="en-GB" sz="2000" kern="100" dirty="0"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Modulari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FC1B89-1CAE-17CD-3E91-1D9AB971C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4</a:t>
            </a:r>
          </a:p>
        </p:txBody>
      </p:sp>
      <p:pic>
        <p:nvPicPr>
          <p:cNvPr id="6" name="Picture Placeholder 9">
            <a:extLst>
              <a:ext uri="{FF2B5EF4-FFF2-40B4-BE49-F238E27FC236}">
                <a16:creationId xmlns:a16="http://schemas.microsoft.com/office/drawing/2014/main" id="{7A532856-10A6-6D9B-7C47-C8A779AB41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779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9A8C806-8605-B75E-5307-D7F62C7DD4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A8C806-8605-B75E-5307-D7F62C7DD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1C88FC-FB13-7257-5BBF-2F6C01BCC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dularit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A613FA-D5E5-F913-CEEE-4102EB2D27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F18595-2F17-AED4-1F12-6B62AEDAC412}"/>
              </a:ext>
            </a:extLst>
          </p:cNvPr>
          <p:cNvSpPr txBox="1"/>
          <p:nvPr/>
        </p:nvSpPr>
        <p:spPr>
          <a:xfrm>
            <a:off x="554736" y="2170800"/>
            <a:ext cx="8812784" cy="2523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GB" dirty="0"/>
              <a:t>Breaking down a complex software system into </a:t>
            </a:r>
            <a:r>
              <a:rPr lang="en-GB" dirty="0">
                <a:solidFill>
                  <a:schemeClr val="accent1"/>
                </a:solidFill>
              </a:rPr>
              <a:t>smaller, independent </a:t>
            </a:r>
            <a:r>
              <a:rPr lang="en-GB" dirty="0"/>
              <a:t>modules. </a:t>
            </a:r>
          </a:p>
          <a:p>
            <a:pPr lvl="1"/>
            <a:r>
              <a:rPr lang="en-GB" dirty="0"/>
              <a:t>Each module is </a:t>
            </a:r>
            <a:r>
              <a:rPr lang="en-GB" dirty="0">
                <a:solidFill>
                  <a:schemeClr val="accent1"/>
                </a:solidFill>
              </a:rPr>
              <a:t>responsible</a:t>
            </a:r>
            <a:r>
              <a:rPr lang="en-GB" dirty="0"/>
              <a:t> for a specific function or feature and </a:t>
            </a:r>
            <a:r>
              <a:rPr lang="en-GB" dirty="0">
                <a:solidFill>
                  <a:schemeClr val="accent1"/>
                </a:solidFill>
              </a:rPr>
              <a:t>operates independently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Modules should be </a:t>
            </a:r>
            <a:r>
              <a:rPr lang="en-GB" dirty="0">
                <a:solidFill>
                  <a:schemeClr val="accent1"/>
                </a:solidFill>
              </a:rPr>
              <a:t>loosely coupled</a:t>
            </a:r>
            <a:r>
              <a:rPr lang="en-GB" dirty="0"/>
              <a:t>, meaning that they should not depend on each other too much.</a:t>
            </a:r>
          </a:p>
          <a:p>
            <a:pPr lvl="1"/>
            <a:r>
              <a:rPr lang="en-GB" dirty="0"/>
              <a:t>Enhanced </a:t>
            </a:r>
            <a:r>
              <a:rPr lang="en-GB" dirty="0">
                <a:solidFill>
                  <a:schemeClr val="accent1"/>
                </a:solidFill>
              </a:rPr>
              <a:t>readability</a:t>
            </a:r>
            <a:r>
              <a:rPr lang="en-GB" dirty="0"/>
              <a:t> and </a:t>
            </a:r>
            <a:r>
              <a:rPr lang="en-GB" dirty="0">
                <a:solidFill>
                  <a:schemeClr val="accent1"/>
                </a:solidFill>
              </a:rPr>
              <a:t>understandability</a:t>
            </a:r>
            <a:r>
              <a:rPr lang="en-GB" dirty="0"/>
              <a:t> of the system</a:t>
            </a:r>
          </a:p>
          <a:p>
            <a:pPr lvl="1"/>
            <a:r>
              <a:rPr lang="en-GB" dirty="0"/>
              <a:t>Allows for </a:t>
            </a:r>
            <a:r>
              <a:rPr lang="en-GB" dirty="0">
                <a:solidFill>
                  <a:schemeClr val="accent1"/>
                </a:solidFill>
              </a:rPr>
              <a:t>reusability</a:t>
            </a:r>
          </a:p>
          <a:p>
            <a:pPr lvl="1"/>
            <a:r>
              <a:rPr lang="en-GB" dirty="0"/>
              <a:t>Easier </a:t>
            </a:r>
            <a:r>
              <a:rPr lang="en-GB" dirty="0">
                <a:solidFill>
                  <a:schemeClr val="accent1"/>
                </a:solidFill>
              </a:rPr>
              <a:t>collaboration</a:t>
            </a:r>
          </a:p>
          <a:p>
            <a:pPr lvl="1"/>
            <a:r>
              <a:rPr lang="en-GB" dirty="0"/>
              <a:t>Makes it easier to </a:t>
            </a:r>
            <a:r>
              <a:rPr lang="en-GB" dirty="0">
                <a:solidFill>
                  <a:schemeClr val="accent1"/>
                </a:solidFill>
              </a:rPr>
              <a:t>test</a:t>
            </a:r>
            <a:r>
              <a:rPr lang="en-GB" dirty="0"/>
              <a:t> smaller chunks, which can be faster and help find bugs</a:t>
            </a:r>
          </a:p>
          <a:p>
            <a:pPr>
              <a:buNone/>
            </a:pPr>
            <a:endParaRPr lang="en-GB" dirty="0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0588DFCD-28D3-4AAD-6AAB-6230C23D7D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096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 hidden="1">
            <a:extLst>
              <a:ext uri="{FF2B5EF4-FFF2-40B4-BE49-F238E27FC236}">
                <a16:creationId xmlns:a16="http://schemas.microsoft.com/office/drawing/2014/main" id="{94D5D00C-38D1-4829-B882-CB870EB0B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94D5D00C-38D1-4829-B882-CB870EB0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27A27F-3195-4EF4-BDDE-557CF50C899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US" dirty="0"/>
              <a:t>Nodes &amp; Pipe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B2E38B-4FD0-813E-6D11-4B462596B5F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33A99-5616-A4AD-C88C-1048704028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E00F6D-6302-D842-9285-2130A64B83F5}"/>
              </a:ext>
            </a:extLst>
          </p:cNvPr>
          <p:cNvSpPr txBox="1">
            <a:spLocks/>
          </p:cNvSpPr>
          <p:nvPr/>
        </p:nvSpPr>
        <p:spPr>
          <a:xfrm>
            <a:off x="554734" y="1518726"/>
            <a:ext cx="4602618" cy="1484234"/>
          </a:xfrm>
          <a:prstGeom prst="rect">
            <a:avLst/>
          </a:prstGeom>
          <a:noFill/>
        </p:spPr>
        <p:txBody>
          <a:bodyPr vert="horz" wrap="square" lIns="0" tIns="0" rIns="0" bIns="0" numCol="1" spcCol="288000" rtlCol="0" anchor="t" anchorCtr="0"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26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kern="0" dirty="0"/>
              <a:t>What is a node?</a:t>
            </a:r>
            <a:endParaRPr lang="en-US" sz="1600" kern="0" dirty="0">
              <a:latin typeface="Arial"/>
              <a:cs typeface="Arial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A pure Python function that has an input and an output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Node definition supports multiple inputs for things like table joins and multiple outputs for things like producing a train/test split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C34FAD-7CB7-E04B-88DE-7F5FA2A8464E}"/>
              </a:ext>
            </a:extLst>
          </p:cNvPr>
          <p:cNvGrpSpPr/>
          <p:nvPr/>
        </p:nvGrpSpPr>
        <p:grpSpPr>
          <a:xfrm>
            <a:off x="796585" y="3877982"/>
            <a:ext cx="4190680" cy="1074143"/>
            <a:chOff x="1081005" y="2743793"/>
            <a:chExt cx="4190680" cy="1074143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3A1D3FC9-FA73-674E-9B4A-6944FB6B2BC8}"/>
                </a:ext>
              </a:extLst>
            </p:cNvPr>
            <p:cNvCxnSpPr>
              <a:cxnSpLocks/>
            </p:cNvCxnSpPr>
            <p:nvPr/>
          </p:nvCxnSpPr>
          <p:spPr>
            <a:xfrm>
              <a:off x="2012431" y="3416737"/>
              <a:ext cx="802638" cy="0"/>
            </a:xfrm>
            <a:prstGeom prst="straightConnector1">
              <a:avLst/>
            </a:prstGeom>
            <a:ln w="19050">
              <a:solidFill>
                <a:srgbClr val="A3A2A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86291506-FED6-744F-8C8B-2FBB0A2A5D82}"/>
                </a:ext>
              </a:extLst>
            </p:cNvPr>
            <p:cNvCxnSpPr>
              <a:cxnSpLocks/>
            </p:cNvCxnSpPr>
            <p:nvPr/>
          </p:nvCxnSpPr>
          <p:spPr>
            <a:xfrm>
              <a:off x="3462497" y="3420393"/>
              <a:ext cx="802638" cy="0"/>
            </a:xfrm>
            <a:prstGeom prst="straightConnector1">
              <a:avLst/>
            </a:prstGeom>
            <a:ln w="19050">
              <a:solidFill>
                <a:srgbClr val="A3A2A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0B15D77-1EF2-D341-A1FF-23ACDC5A1E55}"/>
                </a:ext>
              </a:extLst>
            </p:cNvPr>
            <p:cNvSpPr txBox="1"/>
            <p:nvPr/>
          </p:nvSpPr>
          <p:spPr>
            <a:xfrm>
              <a:off x="1081005" y="2743793"/>
              <a:ext cx="1060216" cy="22046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algn="ctr"/>
              <a:r>
                <a:rPr lang="en-US" sz="1400" b="0" dirty="0"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rPr>
                <a:t>Input dataset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1A0C0-8C69-4E4B-BD0C-84919962E3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09793" y="3011460"/>
              <a:ext cx="802638" cy="802398"/>
              <a:chOff x="2534717" y="1676400"/>
              <a:chExt cx="1440000" cy="1440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D0431B96-2B76-FE4B-A2BC-BFC3E859C3A7}"/>
                  </a:ext>
                </a:extLst>
              </p:cNvPr>
              <p:cNvSpPr/>
              <p:nvPr/>
            </p:nvSpPr>
            <p:spPr>
              <a:xfrm>
                <a:off x="2534717" y="1676400"/>
                <a:ext cx="1440000" cy="144000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endParaRPr>
              </a:p>
            </p:txBody>
          </p: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2BCAB036-44B5-B847-99F7-F773D82A5D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55817" y="2162400"/>
                <a:ext cx="397800" cy="468000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0F38FCC-5B8F-9B44-8DFC-5F8F47B6ABC3}"/>
                </a:ext>
              </a:extLst>
            </p:cNvPr>
            <p:cNvSpPr txBox="1"/>
            <p:nvPr/>
          </p:nvSpPr>
          <p:spPr>
            <a:xfrm>
              <a:off x="2508926" y="2743793"/>
              <a:ext cx="1263073" cy="22046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algn="ctr"/>
              <a:r>
                <a:rPr lang="en-US" sz="1400" b="0" dirty="0"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rPr>
                <a:t>Python function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D3671B5-5612-1546-8BCD-F84BE448C2B9}"/>
                </a:ext>
              </a:extLst>
            </p:cNvPr>
            <p:cNvGrpSpPr/>
            <p:nvPr/>
          </p:nvGrpSpPr>
          <p:grpSpPr>
            <a:xfrm>
              <a:off x="2806660" y="3078326"/>
              <a:ext cx="667605" cy="668665"/>
              <a:chOff x="5057668" y="1766400"/>
              <a:chExt cx="898304" cy="90000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092DE06-1B57-8241-AC37-8E68C6B3D5E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7668" y="1766400"/>
                <a:ext cx="898304" cy="900000"/>
              </a:xfrm>
              <a:prstGeom prst="rect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85E04FC2-2A94-F544-8133-2C3DF31D7C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26820" y="2036400"/>
                <a:ext cx="360000" cy="360000"/>
              </a:xfrm>
              <a:prstGeom prst="rect">
                <a:avLst/>
              </a:prstGeom>
            </p:spPr>
          </p:pic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1B6E08C-6BA7-3446-85BA-B373D368A3A7}"/>
                </a:ext>
              </a:extLst>
            </p:cNvPr>
            <p:cNvSpPr txBox="1"/>
            <p:nvPr/>
          </p:nvSpPr>
          <p:spPr>
            <a:xfrm>
              <a:off x="4067938" y="2743793"/>
              <a:ext cx="1203747" cy="22046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algn="ctr"/>
              <a:r>
                <a:rPr lang="en-US" sz="1400" b="0" dirty="0"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rPr>
                <a:t>Output dataset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4FA3818-16D7-6D42-8435-2A3E15E915F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68493" y="3015538"/>
              <a:ext cx="802638" cy="802398"/>
              <a:chOff x="2534717" y="1676400"/>
              <a:chExt cx="1440000" cy="1440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CFAED731-A253-7941-9F10-8D8A6A314494}"/>
                  </a:ext>
                </a:extLst>
              </p:cNvPr>
              <p:cNvSpPr/>
              <p:nvPr/>
            </p:nvSpPr>
            <p:spPr>
              <a:xfrm>
                <a:off x="2534717" y="1676400"/>
                <a:ext cx="1440000" cy="1440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endParaRPr>
              </a:p>
            </p:txBody>
          </p: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A766857-3F2A-D143-A8D9-A11A286DA8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55817" y="2162400"/>
                <a:ext cx="397800" cy="468000"/>
              </a:xfrm>
              <a:prstGeom prst="rect">
                <a:avLst/>
              </a:prstGeom>
            </p:spPr>
          </p:pic>
        </p:grp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C88B374C-5F6E-6B42-8486-DC0F4CFDC4B3}"/>
              </a:ext>
            </a:extLst>
          </p:cNvPr>
          <p:cNvSpPr txBox="1">
            <a:spLocks/>
          </p:cNvSpPr>
          <p:nvPr/>
        </p:nvSpPr>
        <p:spPr>
          <a:xfrm>
            <a:off x="6631179" y="1518725"/>
            <a:ext cx="4602618" cy="1191528"/>
          </a:xfrm>
          <a:prstGeom prst="rect">
            <a:avLst/>
          </a:prstGeom>
          <a:noFill/>
        </p:spPr>
        <p:txBody>
          <a:bodyPr vert="horz" wrap="square" lIns="0" tIns="0" rIns="0" bIns="0" numCol="1" spcCol="288000" rtlCol="0" anchor="t" anchorCtr="0"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26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kern="0" dirty="0"/>
              <a:t>What is a pipeline?</a:t>
            </a:r>
            <a:endParaRPr lang="en-US" sz="1600" kern="0" dirty="0">
              <a:latin typeface="+mn-lt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It is a directed acyclic graph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A collection of nodes with defined relationships and dependencies. 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8501162-C2CB-BD4E-8C35-220F92512D97}"/>
              </a:ext>
            </a:extLst>
          </p:cNvPr>
          <p:cNvCxnSpPr>
            <a:cxnSpLocks/>
            <a:stCxn id="28" idx="6"/>
          </p:cNvCxnSpPr>
          <p:nvPr/>
        </p:nvCxnSpPr>
        <p:spPr>
          <a:xfrm>
            <a:off x="7654083" y="3211113"/>
            <a:ext cx="1054117" cy="2539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4267D38-2B69-9D47-87E6-661E9D0DCB6C}"/>
              </a:ext>
            </a:extLst>
          </p:cNvPr>
          <p:cNvCxnSpPr>
            <a:cxnSpLocks/>
            <a:endCxn id="36" idx="2"/>
          </p:cNvCxnSpPr>
          <p:nvPr/>
        </p:nvCxnSpPr>
        <p:spPr>
          <a:xfrm flipV="1">
            <a:off x="9111283" y="3213652"/>
            <a:ext cx="1011804" cy="2276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5677AFF-3EA2-BD40-9A47-0A030CA75D1C}"/>
              </a:ext>
            </a:extLst>
          </p:cNvPr>
          <p:cNvSpPr txBox="1"/>
          <p:nvPr/>
        </p:nvSpPr>
        <p:spPr>
          <a:xfrm>
            <a:off x="7028322" y="2741517"/>
            <a:ext cx="75180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put datase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ECDADB1-F1DC-144C-8817-8A8034959E45}"/>
              </a:ext>
            </a:extLst>
          </p:cNvPr>
          <p:cNvGrpSpPr>
            <a:grpSpLocks noChangeAspect="1"/>
          </p:cNvGrpSpPr>
          <p:nvPr/>
        </p:nvGrpSpPr>
        <p:grpSpPr>
          <a:xfrm>
            <a:off x="7154366" y="2961329"/>
            <a:ext cx="499717" cy="499567"/>
            <a:chOff x="2534717" y="1676400"/>
            <a:chExt cx="1440000" cy="1440000"/>
          </a:xfrm>
          <a:solidFill>
            <a:schemeClr val="accent2"/>
          </a:solidFill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3108AE1-9ABD-C240-A74D-CBFFDF7095D9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CD2C54D7-A308-1348-93AF-7286D989FB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186BC96-EBBD-E54B-864F-BAA0F49D67B1}"/>
              </a:ext>
            </a:extLst>
          </p:cNvPr>
          <p:cNvSpPr txBox="1"/>
          <p:nvPr/>
        </p:nvSpPr>
        <p:spPr>
          <a:xfrm>
            <a:off x="8461145" y="2741517"/>
            <a:ext cx="89928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ython functio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A7034D-D2BB-CB42-8F17-C704C9BA0F66}"/>
              </a:ext>
            </a:extLst>
          </p:cNvPr>
          <p:cNvGrpSpPr/>
          <p:nvPr/>
        </p:nvGrpSpPr>
        <p:grpSpPr>
          <a:xfrm>
            <a:off x="8702963" y="3002960"/>
            <a:ext cx="415646" cy="416306"/>
            <a:chOff x="5057668" y="1766400"/>
            <a:chExt cx="898304" cy="900000"/>
          </a:xfrm>
          <a:solidFill>
            <a:schemeClr val="accent5"/>
          </a:solidFill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55D6EF2-A092-3940-A593-9280A40772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7668" y="1766400"/>
              <a:ext cx="898304" cy="900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820E7FC6-AAE0-084C-A100-B549A5096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6820" y="2036400"/>
              <a:ext cx="360000" cy="360000"/>
            </a:xfrm>
            <a:prstGeom prst="rect">
              <a:avLst/>
            </a:prstGeom>
            <a:grpFill/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A69ACFB-C9F8-9744-91FD-6467E8477A3B}"/>
              </a:ext>
            </a:extLst>
          </p:cNvPr>
          <p:cNvSpPr txBox="1"/>
          <p:nvPr/>
        </p:nvSpPr>
        <p:spPr>
          <a:xfrm>
            <a:off x="9944943" y="2741517"/>
            <a:ext cx="8560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tput datase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17DB46-E8A5-4341-8ADD-C218FB2FDD02}"/>
              </a:ext>
            </a:extLst>
          </p:cNvPr>
          <p:cNvGrpSpPr>
            <a:grpSpLocks noChangeAspect="1"/>
          </p:cNvGrpSpPr>
          <p:nvPr/>
        </p:nvGrpSpPr>
        <p:grpSpPr>
          <a:xfrm>
            <a:off x="10123087" y="2963868"/>
            <a:ext cx="499717" cy="499567"/>
            <a:chOff x="2534717" y="1676400"/>
            <a:chExt cx="1440000" cy="1440000"/>
          </a:xfrm>
          <a:solidFill>
            <a:schemeClr val="accent1"/>
          </a:solidFill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71A3AED-4AC2-2A4E-9F6A-32F82B681505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97120612-6488-0541-BF8F-BFCC977E2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E1869BD-4231-B646-BA19-CE89A1CD868F}"/>
              </a:ext>
            </a:extLst>
          </p:cNvPr>
          <p:cNvCxnSpPr>
            <a:cxnSpLocks/>
            <a:stCxn id="42" idx="6"/>
          </p:cNvCxnSpPr>
          <p:nvPr/>
        </p:nvCxnSpPr>
        <p:spPr>
          <a:xfrm>
            <a:off x="7654083" y="4501592"/>
            <a:ext cx="1054117" cy="2539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0BF814F6-982C-2F47-8D33-82B3E90901BD}"/>
              </a:ext>
            </a:extLst>
          </p:cNvPr>
          <p:cNvCxnSpPr>
            <a:cxnSpLocks/>
          </p:cNvCxnSpPr>
          <p:nvPr/>
        </p:nvCxnSpPr>
        <p:spPr>
          <a:xfrm>
            <a:off x="9111283" y="4506407"/>
            <a:ext cx="1011804" cy="0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DF9435C-2FDF-044D-9803-7D12AED03D78}"/>
              </a:ext>
            </a:extLst>
          </p:cNvPr>
          <p:cNvSpPr txBox="1"/>
          <p:nvPr/>
        </p:nvSpPr>
        <p:spPr>
          <a:xfrm>
            <a:off x="7028322" y="4031995"/>
            <a:ext cx="75180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put datase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A82E236-93DE-3A48-B599-A15987773C38}"/>
              </a:ext>
            </a:extLst>
          </p:cNvPr>
          <p:cNvGrpSpPr>
            <a:grpSpLocks noChangeAspect="1"/>
          </p:cNvGrpSpPr>
          <p:nvPr/>
        </p:nvGrpSpPr>
        <p:grpSpPr>
          <a:xfrm>
            <a:off x="7154366" y="4251808"/>
            <a:ext cx="499717" cy="499567"/>
            <a:chOff x="2534717" y="1676400"/>
            <a:chExt cx="1440000" cy="1440000"/>
          </a:xfrm>
          <a:solidFill>
            <a:schemeClr val="accent2"/>
          </a:solidFill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486760D-3CFA-8940-A437-C77552E73D84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F7E7D52F-3235-AD41-B1CC-967542C7B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364DAA68-93D8-B148-A67E-1FC51974B539}"/>
              </a:ext>
            </a:extLst>
          </p:cNvPr>
          <p:cNvSpPr txBox="1"/>
          <p:nvPr/>
        </p:nvSpPr>
        <p:spPr>
          <a:xfrm>
            <a:off x="8461145" y="4031995"/>
            <a:ext cx="89928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ython function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A2C8529-9B7D-7C40-AF5F-D6296D2870B7}"/>
              </a:ext>
            </a:extLst>
          </p:cNvPr>
          <p:cNvGrpSpPr/>
          <p:nvPr/>
        </p:nvGrpSpPr>
        <p:grpSpPr>
          <a:xfrm>
            <a:off x="8702963" y="4293438"/>
            <a:ext cx="415646" cy="416306"/>
            <a:chOff x="5057668" y="1766400"/>
            <a:chExt cx="898304" cy="900000"/>
          </a:xfrm>
          <a:solidFill>
            <a:schemeClr val="accent5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882A89-2DDB-024F-BA80-28A94F3BD6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7668" y="1766400"/>
              <a:ext cx="898304" cy="900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238A4481-0351-5A4E-B22C-D2F29AFEA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6820" y="2036400"/>
              <a:ext cx="360000" cy="360000"/>
            </a:xfrm>
            <a:prstGeom prst="rect">
              <a:avLst/>
            </a:prstGeom>
            <a:grpFill/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F0BB6E09-B4A4-4E48-BB16-42EC973CA315}"/>
              </a:ext>
            </a:extLst>
          </p:cNvPr>
          <p:cNvSpPr txBox="1"/>
          <p:nvPr/>
        </p:nvSpPr>
        <p:spPr>
          <a:xfrm>
            <a:off x="9944943" y="4031995"/>
            <a:ext cx="8560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tput dataset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818B6E-40B3-3A4D-9248-071381F20F7E}"/>
              </a:ext>
            </a:extLst>
          </p:cNvPr>
          <p:cNvGrpSpPr>
            <a:grpSpLocks noChangeAspect="1"/>
          </p:cNvGrpSpPr>
          <p:nvPr/>
        </p:nvGrpSpPr>
        <p:grpSpPr>
          <a:xfrm>
            <a:off x="10123087" y="4254347"/>
            <a:ext cx="499717" cy="499567"/>
            <a:chOff x="2534717" y="1676400"/>
            <a:chExt cx="1440000" cy="1440000"/>
          </a:xfrm>
          <a:solidFill>
            <a:schemeClr val="accent1"/>
          </a:solidFill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3EB1817-81DB-824E-8288-660F495D5537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68555B55-029D-0546-9C27-C1D167E33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D0474F72-D96E-734D-B0EF-71EDEE143E6A}"/>
              </a:ext>
            </a:extLst>
          </p:cNvPr>
          <p:cNvSpPr txBox="1"/>
          <p:nvPr/>
        </p:nvSpPr>
        <p:spPr>
          <a:xfrm>
            <a:off x="8524713" y="3568152"/>
            <a:ext cx="7721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8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+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9888D4CB-9F82-DB47-AE50-67FE7D6BC6F1}"/>
              </a:ext>
            </a:extLst>
          </p:cNvPr>
          <p:cNvCxnSpPr>
            <a:cxnSpLocks/>
            <a:stCxn id="57" idx="6"/>
          </p:cNvCxnSpPr>
          <p:nvPr/>
        </p:nvCxnSpPr>
        <p:spPr>
          <a:xfrm>
            <a:off x="7654083" y="5792072"/>
            <a:ext cx="1054117" cy="2538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3D99E80-BDBD-714E-A31F-CFC5E346B9AC}"/>
              </a:ext>
            </a:extLst>
          </p:cNvPr>
          <p:cNvCxnSpPr>
            <a:cxnSpLocks/>
            <a:endCxn id="65" idx="2"/>
          </p:cNvCxnSpPr>
          <p:nvPr/>
        </p:nvCxnSpPr>
        <p:spPr>
          <a:xfrm flipV="1">
            <a:off x="9111283" y="5794610"/>
            <a:ext cx="1011804" cy="2278"/>
          </a:xfrm>
          <a:prstGeom prst="straightConnector1">
            <a:avLst/>
          </a:prstGeom>
          <a:ln w="19050">
            <a:solidFill>
              <a:srgbClr val="A3A2A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145378EE-E952-CD4E-B972-E8B93D838CA9}"/>
              </a:ext>
            </a:extLst>
          </p:cNvPr>
          <p:cNvSpPr txBox="1"/>
          <p:nvPr/>
        </p:nvSpPr>
        <p:spPr>
          <a:xfrm>
            <a:off x="7028322" y="5322475"/>
            <a:ext cx="75180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put dataset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427F64D-BBD0-B142-97B2-706DBFA98E77}"/>
              </a:ext>
            </a:extLst>
          </p:cNvPr>
          <p:cNvGrpSpPr>
            <a:grpSpLocks noChangeAspect="1"/>
          </p:cNvGrpSpPr>
          <p:nvPr/>
        </p:nvGrpSpPr>
        <p:grpSpPr>
          <a:xfrm>
            <a:off x="7154366" y="5542288"/>
            <a:ext cx="499717" cy="499567"/>
            <a:chOff x="2534717" y="1676400"/>
            <a:chExt cx="1440000" cy="1440000"/>
          </a:xfrm>
          <a:solidFill>
            <a:schemeClr val="accent2"/>
          </a:solidFill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B50B10C-69A9-6E4A-BDA3-03B86050FC58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329EA82E-831E-E544-BD5F-3839494FC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BAF94D4F-9B11-E148-B9D1-742EB9EA4741}"/>
              </a:ext>
            </a:extLst>
          </p:cNvPr>
          <p:cNvSpPr txBox="1"/>
          <p:nvPr/>
        </p:nvSpPr>
        <p:spPr>
          <a:xfrm>
            <a:off x="8461144" y="5322475"/>
            <a:ext cx="89928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ython function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FD713D0-7FB2-7349-8BB9-2AB8151D6CDD}"/>
              </a:ext>
            </a:extLst>
          </p:cNvPr>
          <p:cNvGrpSpPr/>
          <p:nvPr/>
        </p:nvGrpSpPr>
        <p:grpSpPr>
          <a:xfrm>
            <a:off x="8702963" y="5583918"/>
            <a:ext cx="415646" cy="416306"/>
            <a:chOff x="5057668" y="1766400"/>
            <a:chExt cx="898304" cy="900000"/>
          </a:xfrm>
          <a:solidFill>
            <a:schemeClr val="accent5"/>
          </a:solidFill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2A45B82-98C8-694D-93F9-6B2C2720EF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7668" y="1766400"/>
              <a:ext cx="898304" cy="900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1944B4F4-DEB5-4344-A715-A69BA863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6820" y="2036400"/>
              <a:ext cx="360000" cy="360000"/>
            </a:xfrm>
            <a:prstGeom prst="rect">
              <a:avLst/>
            </a:prstGeom>
            <a:grpFill/>
          </p:spPr>
        </p:pic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C8F82D3E-F906-0D4B-9C24-5954212D4866}"/>
              </a:ext>
            </a:extLst>
          </p:cNvPr>
          <p:cNvSpPr txBox="1"/>
          <p:nvPr/>
        </p:nvSpPr>
        <p:spPr>
          <a:xfrm>
            <a:off x="9944943" y="5322475"/>
            <a:ext cx="8560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en-US" sz="10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tput dataset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BCAF9D2-3427-D244-BF7E-CAC5AF882E78}"/>
              </a:ext>
            </a:extLst>
          </p:cNvPr>
          <p:cNvGrpSpPr>
            <a:grpSpLocks noChangeAspect="1"/>
          </p:cNvGrpSpPr>
          <p:nvPr/>
        </p:nvGrpSpPr>
        <p:grpSpPr>
          <a:xfrm>
            <a:off x="10123087" y="5544826"/>
            <a:ext cx="499717" cy="499567"/>
            <a:chOff x="2534717" y="1676400"/>
            <a:chExt cx="1440000" cy="1440000"/>
          </a:xfrm>
          <a:solidFill>
            <a:schemeClr val="accent1"/>
          </a:solidFill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3DCB0931-31E5-3B43-A578-B0DE71D67D84}"/>
                </a:ext>
              </a:extLst>
            </p:cNvPr>
            <p:cNvSpPr/>
            <p:nvPr/>
          </p:nvSpPr>
          <p:spPr>
            <a:xfrm>
              <a:off x="2534717" y="1676400"/>
              <a:ext cx="1440000" cy="1440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 err="1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C0CF404-03D6-CC47-B22F-75C6CA07F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5817" y="2162400"/>
              <a:ext cx="397800" cy="468000"/>
            </a:xfrm>
            <a:prstGeom prst="rect">
              <a:avLst/>
            </a:prstGeom>
            <a:grpFill/>
          </p:spPr>
        </p:pic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04C06A32-588A-CF4D-BA0A-4055031BFD67}"/>
              </a:ext>
            </a:extLst>
          </p:cNvPr>
          <p:cNvSpPr txBox="1"/>
          <p:nvPr/>
        </p:nvSpPr>
        <p:spPr>
          <a:xfrm>
            <a:off x="8524713" y="4919893"/>
            <a:ext cx="7721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8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+</a:t>
            </a:r>
          </a:p>
        </p:txBody>
      </p:sp>
      <p:pic>
        <p:nvPicPr>
          <p:cNvPr id="71" name="Picture Placeholder 9">
            <a:extLst>
              <a:ext uri="{FF2B5EF4-FFF2-40B4-BE49-F238E27FC236}">
                <a16:creationId xmlns:a16="http://schemas.microsoft.com/office/drawing/2014/main" id="{BE95345B-C5FA-37A8-104C-B246F6B7BE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474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3DC42D4-299C-8BBA-B85B-98A182CE7F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DC42D4-299C-8BBA-B85B-98A182CE7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F854FFBC-5DA5-D327-C20A-CE18A2099B3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lum bright="100000" contrast="-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54" r="454"/>
          <a:stretch/>
        </p:blipFill>
        <p:spPr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471CFD-18B2-5D52-9870-F7A21E4DD4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26</a:t>
            </a:r>
            <a:r>
              <a:rPr lang="en-US" baseline="30000" dirty="0"/>
              <a:t>th</a:t>
            </a:r>
            <a:r>
              <a:rPr lang="en-US" dirty="0"/>
              <a:t> of August 2025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141F715-03C7-D631-2A1E-9FC0B7A0BA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dirty="0"/>
              <a:t>Merel Theisen </a:t>
            </a:r>
            <a:r>
              <a:rPr lang="en-GB" dirty="0"/>
              <a:t>for </a:t>
            </a:r>
            <a:r>
              <a:rPr lang="en-GB" dirty="0" err="1"/>
              <a:t>PyLadies</a:t>
            </a:r>
            <a:r>
              <a:rPr lang="en-GB" dirty="0"/>
              <a:t> Amsterda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FCF247-54BD-5387-46E9-74F6939D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1929990"/>
            <a:ext cx="5486400" cy="1661993"/>
          </a:xfrm>
        </p:spPr>
        <p:txBody>
          <a:bodyPr vert="horz"/>
          <a:lstStyle/>
          <a:p>
            <a:r>
              <a:rPr lang="en-US" sz="3600" dirty="0"/>
              <a:t>Data science that ships: production-ready pipelines with Kedr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BF72E5-26F4-E87C-CB17-BBDC37D99EEF}"/>
              </a:ext>
            </a:extLst>
          </p:cNvPr>
          <p:cNvSpPr txBox="1"/>
          <p:nvPr/>
        </p:nvSpPr>
        <p:spPr>
          <a:xfrm>
            <a:off x="995423" y="336823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4" name="Picture Placeholder 9">
            <a:extLst>
              <a:ext uri="{FF2B5EF4-FFF2-40B4-BE49-F238E27FC236}">
                <a16:creationId xmlns:a16="http://schemas.microsoft.com/office/drawing/2014/main" id="{C9EB2B32-E0CB-FDDD-90DD-C4F210DD4B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13" r="413"/>
          <a:stretch>
            <a:fillRect/>
          </a:stretch>
        </p:blipFill>
        <p:spPr>
          <a:xfrm>
            <a:off x="551941" y="5552279"/>
            <a:ext cx="793780" cy="404523"/>
          </a:xfrm>
          <a:prstGeom prst="rect">
            <a:avLst/>
          </a:prstGeom>
        </p:spPr>
      </p:pic>
      <p:pic>
        <p:nvPicPr>
          <p:cNvPr id="1026" name="Picture 2" descr="PyLadies">
            <a:extLst>
              <a:ext uri="{FF2B5EF4-FFF2-40B4-BE49-F238E27FC236}">
                <a16:creationId xmlns:a16="http://schemas.microsoft.com/office/drawing/2014/main" id="{185B84C2-8F7A-E4B6-EBB2-043C1CC13C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141" y="4039087"/>
            <a:ext cx="3657600" cy="1715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04194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5718DAF-A8BB-ABFC-B361-579BC171F4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718DAF-A8BB-ABFC-B361-579BC171F4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9B78CA-5BC9-B6BF-3F88-1FFD607F4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data science project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DABF7E9-96D9-F01E-22F8-549A6BD375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efore refacto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86A6BA-2B20-649B-D84D-89A123EAC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D5CA91C6-084E-F80D-E640-60E0F344FB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1715" y="650381"/>
            <a:ext cx="8332147" cy="5557237"/>
          </a:xfrm>
          <a:prstGeom prst="rect">
            <a:avLst/>
          </a:prstGeom>
        </p:spPr>
      </p:pic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9F00F48E-EC03-06D5-BFE3-130AD963DF07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 contrast="-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561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0B2BB2-FA79-3434-E415-80E458DB8A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A14B435-29EB-FE86-92FD-7C719AE3B2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14B435-29EB-FE86-92FD-7C719AE3B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B86A17-1BC6-61CD-3FFD-BC1C2359A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with modularity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81D2832-5D13-D46D-E3D4-89F8639F06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ode separated into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8CB0E1-73DA-F4AF-6720-9175E512E2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2471AF3E-A34A-F583-354F-CA5811AA2A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77029" y="420329"/>
            <a:ext cx="7772400" cy="6017341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FDB252D8-F4A1-F3A8-7AD2-825A742E2F51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3514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24812-7008-5D88-46C8-0AE6D2861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F6E3CA9-1937-346E-7B77-1CD4F6CA54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E3CA9-1937-346E-7B77-1CD4F6CA54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71669D-CF08-EB8A-0AB1-0303C7987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with modularity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15605BC-1227-C070-B711-D5343200DE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in method that calls all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D513FA-D56B-B0BE-23E5-10DC109D08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A6620642-3F92-620D-356B-89D26CE468C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3809"/>
          <a:stretch/>
        </p:blipFill>
        <p:spPr>
          <a:xfrm>
            <a:off x="3784477" y="455649"/>
            <a:ext cx="8032384" cy="5754232"/>
          </a:xfrm>
          <a:prstGeom prst="rect">
            <a:avLst/>
          </a:prstGeom>
        </p:spPr>
      </p:pic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B302B7DA-5A7B-DB07-B1E3-BA2D709121A9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65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5C903-1CF9-DF5B-B714-BA4232E47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EC118E-D06B-56BC-7C24-0DD2B67D82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C118E-D06B-56BC-7C24-0DD2B67D82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DB21BB57-969D-6E66-D78A-F747F079C88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2349"/>
          <a:stretch/>
        </p:blipFill>
        <p:spPr>
          <a:xfrm>
            <a:off x="3087629" y="-182880"/>
            <a:ext cx="6035339" cy="48937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13BBD2-B020-1AC2-2DFF-AACF55917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with modularity in Kedro	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6EB98178-38EB-A12B-9143-9C99CF9A93D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ing nodes and pipeline to structure the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558E5-9DCB-62BA-E802-1BAED9220C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B22B71B3-FEE0-D056-AD6E-B2F9D2F7FF37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27" name="Picture 26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9DEF4516-A2FC-6688-769F-38B422490DA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8439" y="1638664"/>
            <a:ext cx="6309058" cy="546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5627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D4000C-EFC6-06FB-4452-B2775683C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5425285-290D-9F67-1B84-D1948445C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25285-290D-9F67-1B84-D1948445C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4546D394-83FE-580A-DFAA-FB05449D19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0776" y="-260373"/>
            <a:ext cx="7772400" cy="45840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9A6B05-EC46-40EB-E6FC-D85F2F568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with modularity in Kedro	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7271F048-070E-FB20-2CB2-EAF0EF0CE8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ing nodes and pipeline to structure the fun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631808-1932-891B-8DDD-D339142BC6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70AC2CAB-62EA-C4F3-E539-EDB3AFBB0912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C8BEE7-B9A8-8739-BD84-6662988CAAFD}"/>
              </a:ext>
            </a:extLst>
          </p:cNvPr>
          <p:cNvSpPr txBox="1"/>
          <p:nvPr/>
        </p:nvSpPr>
        <p:spPr>
          <a:xfrm>
            <a:off x="-532563" y="-107517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pic>
        <p:nvPicPr>
          <p:cNvPr id="15" name="Picture 1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4A6C4BE-1E9F-522B-175A-C2F569A97E0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19608"/>
          <a:stretch/>
        </p:blipFill>
        <p:spPr>
          <a:xfrm>
            <a:off x="5588000" y="2031663"/>
            <a:ext cx="6248400" cy="496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6301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9C12F-E898-C222-8984-FA33BED0AE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1C82A2CE-25AB-B759-51BA-2FA8D1CF09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1C82A2CE-25AB-B759-51BA-2FA8D1CF0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43A4A1D8-AF5A-F7FE-9C64-D5C3196C1836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B79918-6EFE-C59D-B561-50D7436E24D0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1727B4B-D4DE-D955-043E-ECDB43F73986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658EEA9-5851-24C7-7ABD-AF8419F12943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C07A1-F571-50AB-4DC6-E857DB056788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E56C484-B86F-79F0-209E-7FD5C4C31FAE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10D8B48C-0D15-0A6E-6F69-25DAF24382EC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D25BD22A-F772-E32D-8C43-4FA0E5820727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FCC2CA8-EF19-3F20-AA45-A532EB598997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76F57C-60AB-C573-A66E-92DD89585239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9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72B7BA7A-2B7D-47C8-B0B1-3DB27CB1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5</a:t>
            </a:r>
          </a:p>
        </p:txBody>
      </p:sp>
      <p:pic>
        <p:nvPicPr>
          <p:cNvPr id="16" name="Picture Placeholder 9">
            <a:extLst>
              <a:ext uri="{FF2B5EF4-FFF2-40B4-BE49-F238E27FC236}">
                <a16:creationId xmlns:a16="http://schemas.microsoft.com/office/drawing/2014/main" id="{B054596C-1E2E-E566-0215-F0CBD98F7A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B619382-E283-9297-B4A3-9F0EF7B29F56}"/>
              </a:ext>
            </a:extLst>
          </p:cNvPr>
          <p:cNvSpPr txBox="1"/>
          <p:nvPr/>
        </p:nvSpPr>
        <p:spPr>
          <a:xfrm>
            <a:off x="4674079" y="3076757"/>
            <a:ext cx="6346166" cy="4001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2000" kern="100" dirty="0"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Separation of concerns</a:t>
            </a:r>
          </a:p>
        </p:txBody>
      </p:sp>
    </p:spTree>
    <p:extLst>
      <p:ext uri="{BB962C8B-B14F-4D97-AF65-F5344CB8AC3E}">
        <p14:creationId xmlns:p14="http://schemas.microsoft.com/office/powerpoint/2010/main" val="1424303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1056F0D-7425-6F72-C595-C75D5C447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056F0D-7425-6F72-C595-C75D5C447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1C88FC-FB13-7257-5BBF-2F6C01BCC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eparation of concerns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826DE6E-3DCB-5E52-6455-EC9000E607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81A7782-0D94-A9CF-C341-EF693BC4E4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F18595-2F17-AED4-1F12-6B62AEDAC412}"/>
              </a:ext>
            </a:extLst>
          </p:cNvPr>
          <p:cNvSpPr txBox="1"/>
          <p:nvPr/>
        </p:nvSpPr>
        <p:spPr>
          <a:xfrm>
            <a:off x="554736" y="2170800"/>
            <a:ext cx="8640064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GB" dirty="0"/>
              <a:t>Different parts of software system should be designed to </a:t>
            </a:r>
            <a:r>
              <a:rPr lang="en-GB" dirty="0">
                <a:solidFill>
                  <a:schemeClr val="accent1"/>
                </a:solidFill>
              </a:rPr>
              <a:t>address different concerns</a:t>
            </a:r>
          </a:p>
          <a:p>
            <a:pPr lvl="2"/>
            <a:r>
              <a:rPr lang="en-GB" dirty="0"/>
              <a:t>E.g. separate user interaction layer, data access layer and business logic layer</a:t>
            </a:r>
          </a:p>
          <a:p>
            <a:pPr lvl="1"/>
            <a:r>
              <a:rPr lang="en-GB" dirty="0"/>
              <a:t>Separation of concerns helps to improve the </a:t>
            </a:r>
            <a:r>
              <a:rPr lang="en-GB" dirty="0">
                <a:solidFill>
                  <a:schemeClr val="accent1"/>
                </a:solidFill>
              </a:rPr>
              <a:t>readability</a:t>
            </a:r>
            <a:r>
              <a:rPr lang="en-GB" dirty="0"/>
              <a:t>, </a:t>
            </a:r>
            <a:r>
              <a:rPr lang="en-GB" dirty="0">
                <a:solidFill>
                  <a:schemeClr val="accent1"/>
                </a:solidFill>
              </a:rPr>
              <a:t>understandability</a:t>
            </a:r>
            <a:r>
              <a:rPr lang="en-GB" dirty="0"/>
              <a:t>, and </a:t>
            </a:r>
            <a:r>
              <a:rPr lang="en-GB" dirty="0">
                <a:solidFill>
                  <a:schemeClr val="accent1"/>
                </a:solidFill>
              </a:rPr>
              <a:t>maintainability</a:t>
            </a:r>
            <a:r>
              <a:rPr lang="en-GB" dirty="0"/>
              <a:t> of software systems. </a:t>
            </a:r>
          </a:p>
          <a:p>
            <a:pPr lvl="1"/>
            <a:r>
              <a:rPr lang="en-GB" dirty="0"/>
              <a:t>It also makes it easier to </a:t>
            </a:r>
            <a:r>
              <a:rPr lang="en-GB" dirty="0">
                <a:solidFill>
                  <a:schemeClr val="accent1"/>
                </a:solidFill>
              </a:rPr>
              <a:t>change and evolve </a:t>
            </a:r>
            <a:r>
              <a:rPr lang="en-GB" dirty="0"/>
              <a:t>the system over time.</a:t>
            </a:r>
          </a:p>
          <a:p>
            <a:pPr lvl="1"/>
            <a:endParaRPr lang="en-GB" dirty="0"/>
          </a:p>
        </p:txBody>
      </p:sp>
      <p:pic>
        <p:nvPicPr>
          <p:cNvPr id="6" name="Picture Placeholder 9">
            <a:extLst>
              <a:ext uri="{FF2B5EF4-FFF2-40B4-BE49-F238E27FC236}">
                <a16:creationId xmlns:a16="http://schemas.microsoft.com/office/drawing/2014/main" id="{A1FCC11E-9604-FF8C-7269-ACDC92ECED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24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5C6F9F-143D-A8DE-477B-963423ABF2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5C6F9F-143D-A8DE-477B-963423ABF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AC02E6-6EEA-8EDD-1091-0E39D18AB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onfiguration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CC45077-CB04-AB5F-8341-E0BFF0CC3A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790A03C-13DE-84BD-43AB-9A5896D41CC6}"/>
              </a:ext>
            </a:extLst>
          </p:cNvPr>
          <p:cNvGrpSpPr/>
          <p:nvPr/>
        </p:nvGrpSpPr>
        <p:grpSpPr>
          <a:xfrm>
            <a:off x="7718354" y="5574684"/>
            <a:ext cx="2643533" cy="162560"/>
            <a:chOff x="7437001" y="2370283"/>
            <a:chExt cx="2643533" cy="16256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B1D13DF-17A7-DE6F-7F50-27F9C7A17E6B}"/>
                </a:ext>
              </a:extLst>
            </p:cNvPr>
            <p:cNvSpPr/>
            <p:nvPr/>
          </p:nvSpPr>
          <p:spPr>
            <a:xfrm>
              <a:off x="7437001" y="2370283"/>
              <a:ext cx="162560" cy="16256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BBAE126-3B16-6304-FB9C-0013ED6C9FC5}"/>
                </a:ext>
              </a:extLst>
            </p:cNvPr>
            <p:cNvSpPr txBox="1"/>
            <p:nvPr/>
          </p:nvSpPr>
          <p:spPr>
            <a:xfrm>
              <a:off x="7681039" y="2390007"/>
              <a:ext cx="2399495" cy="1231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Aft>
                  <a:spcPts val="900"/>
                </a:spcAft>
              </a:pPr>
              <a:r>
                <a:rPr lang="en-GB" sz="800" b="1"/>
                <a:t>EXPERIMENT OR MODEL</a:t>
              </a:r>
              <a:endParaRPr lang="en-GB" sz="800" b="1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2647A32-E119-756A-F555-8F1F773C13AA}"/>
              </a:ext>
            </a:extLst>
          </p:cNvPr>
          <p:cNvGrpSpPr/>
          <p:nvPr/>
        </p:nvGrpSpPr>
        <p:grpSpPr>
          <a:xfrm>
            <a:off x="7718354" y="5869324"/>
            <a:ext cx="2643533" cy="162560"/>
            <a:chOff x="7437001" y="2664923"/>
            <a:chExt cx="2643533" cy="1625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15F0C5-FA78-69FC-F671-2C8089BF5E5E}"/>
                </a:ext>
              </a:extLst>
            </p:cNvPr>
            <p:cNvSpPr/>
            <p:nvPr/>
          </p:nvSpPr>
          <p:spPr>
            <a:xfrm>
              <a:off x="7437001" y="2664923"/>
              <a:ext cx="162560" cy="16256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" cap="sq">
              <a:solidFill>
                <a:schemeClr val="accent3">
                  <a:lumMod val="5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9AE7AF4-674F-A2A4-E77D-AEC987ADC8C7}"/>
                </a:ext>
              </a:extLst>
            </p:cNvPr>
            <p:cNvSpPr txBox="1"/>
            <p:nvPr/>
          </p:nvSpPr>
          <p:spPr>
            <a:xfrm>
              <a:off x="7681040" y="2684647"/>
              <a:ext cx="2399494" cy="1231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Aft>
                  <a:spcPts val="900"/>
                </a:spcAft>
              </a:pPr>
              <a:r>
                <a:rPr lang="en-GB" sz="800" b="1"/>
                <a:t>DATA ACCESS</a:t>
              </a:r>
              <a:endParaRPr lang="en-GB" sz="800" b="1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0E1EF89-D2F2-9D11-B661-21E97B1722B0}"/>
              </a:ext>
            </a:extLst>
          </p:cNvPr>
          <p:cNvGrpSpPr/>
          <p:nvPr/>
        </p:nvGrpSpPr>
        <p:grpSpPr>
          <a:xfrm>
            <a:off x="538383" y="1712521"/>
            <a:ext cx="1980000" cy="1921492"/>
            <a:chOff x="109747" y="1591324"/>
            <a:chExt cx="1980000" cy="192149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B4F5D48-0D3E-CB2C-0BDF-5F50265C9B98}"/>
                </a:ext>
              </a:extLst>
            </p:cNvPr>
            <p:cNvGrpSpPr/>
            <p:nvPr/>
          </p:nvGrpSpPr>
          <p:grpSpPr>
            <a:xfrm>
              <a:off x="540521" y="1591324"/>
              <a:ext cx="1118452" cy="1164881"/>
              <a:chOff x="540521" y="1591324"/>
              <a:chExt cx="1118452" cy="1164881"/>
            </a:xfrm>
          </p:grpSpPr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D4A2E6A6-060D-A26B-B886-7E0601CB71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98344" y="1591324"/>
                <a:ext cx="802806" cy="802806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BE432FB-6BD9-2DBB-1578-A52D8854A784}"/>
                  </a:ext>
                </a:extLst>
              </p:cNvPr>
              <p:cNvSpPr txBox="1"/>
              <p:nvPr/>
            </p:nvSpPr>
            <p:spPr>
              <a:xfrm>
                <a:off x="540521" y="2440197"/>
                <a:ext cx="1118452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 dirty="0">
                    <a:latin typeface="+mj-lt"/>
                  </a:rPr>
                  <a:t>Parameters</a:t>
                </a: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BEF20FDB-4776-5190-0B0E-59A5BCB8C2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0410" y="2756205"/>
                <a:ext cx="2786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74E90AF-4328-7D96-027B-EB14A80043EA}"/>
                </a:ext>
              </a:extLst>
            </p:cNvPr>
            <p:cNvSpPr txBox="1"/>
            <p:nvPr/>
          </p:nvSpPr>
          <p:spPr>
            <a:xfrm>
              <a:off x="109747" y="2958818"/>
              <a:ext cx="198000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GB" sz="900"/>
                <a:t>Parameters for machine learning models, such as learning rate, number of iterations and train/test split.</a:t>
              </a:r>
              <a:endParaRPr lang="en-GB" sz="90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885519F-2ED4-3068-A382-87583E3448A1}"/>
              </a:ext>
            </a:extLst>
          </p:cNvPr>
          <p:cNvGrpSpPr/>
          <p:nvPr/>
        </p:nvGrpSpPr>
        <p:grpSpPr>
          <a:xfrm>
            <a:off x="2775001" y="1669391"/>
            <a:ext cx="1980000" cy="1861500"/>
            <a:chOff x="1795601" y="1512816"/>
            <a:chExt cx="1980000" cy="1861500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57C743B-AD9D-2AE9-A307-DF2D8B4F0E68}"/>
                </a:ext>
              </a:extLst>
            </p:cNvPr>
            <p:cNvGrpSpPr/>
            <p:nvPr/>
          </p:nvGrpSpPr>
          <p:grpSpPr>
            <a:xfrm>
              <a:off x="2019878" y="1512816"/>
              <a:ext cx="1531447" cy="1243389"/>
              <a:chOff x="2019878" y="1512816"/>
              <a:chExt cx="1531447" cy="1243389"/>
            </a:xfrm>
          </p:grpSpPr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538BB32E-8D2B-1CF1-96ED-95E422C7F0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305690" y="1512816"/>
                <a:ext cx="959823" cy="959823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D6476F4-1ED4-9B9B-85F3-245291276666}"/>
                  </a:ext>
                </a:extLst>
              </p:cNvPr>
              <p:cNvSpPr txBox="1"/>
              <p:nvPr/>
            </p:nvSpPr>
            <p:spPr>
              <a:xfrm>
                <a:off x="2019878" y="2440197"/>
                <a:ext cx="1531447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>
                    <a:latin typeface="+mj-lt"/>
                  </a:rPr>
                  <a:t>Hyperparameters</a:t>
                </a:r>
                <a:endParaRPr lang="en-GB" sz="1400" dirty="0">
                  <a:latin typeface="+mj-lt"/>
                </a:endParaRP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F7F193A4-2D91-A7ED-F771-D81BC0068D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46264" y="2756205"/>
                <a:ext cx="2786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0042CC1-1B48-5DB4-680A-B0CD6CE23D28}"/>
                </a:ext>
              </a:extLst>
            </p:cNvPr>
            <p:cNvSpPr txBox="1"/>
            <p:nvPr/>
          </p:nvSpPr>
          <p:spPr>
            <a:xfrm>
              <a:off x="1795601" y="2958818"/>
              <a:ext cx="1980000" cy="4154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GB" sz="900"/>
                <a:t>Hyperparameters for deep learning models, such as number of layers and number of neurons.</a:t>
              </a:r>
              <a:endParaRPr lang="en-GB" sz="900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CFE5594-5108-4D1E-B479-746DFF05843E}"/>
              </a:ext>
            </a:extLst>
          </p:cNvPr>
          <p:cNvGrpSpPr/>
          <p:nvPr/>
        </p:nvGrpSpPr>
        <p:grpSpPr>
          <a:xfrm>
            <a:off x="5073598" y="2596772"/>
            <a:ext cx="1980000" cy="934119"/>
            <a:chOff x="3501685" y="2440197"/>
            <a:chExt cx="1980000" cy="93411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21850D6-829E-8ED0-E980-9ECC86AA08D8}"/>
                </a:ext>
              </a:extLst>
            </p:cNvPr>
            <p:cNvGrpSpPr/>
            <p:nvPr/>
          </p:nvGrpSpPr>
          <p:grpSpPr>
            <a:xfrm>
              <a:off x="3932459" y="2440197"/>
              <a:ext cx="1118452" cy="316008"/>
              <a:chOff x="3932459" y="2440197"/>
              <a:chExt cx="1118452" cy="316008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E732CE0-DF49-43CC-DE91-9299FD7CCD65}"/>
                  </a:ext>
                </a:extLst>
              </p:cNvPr>
              <p:cNvSpPr txBox="1"/>
              <p:nvPr/>
            </p:nvSpPr>
            <p:spPr>
              <a:xfrm>
                <a:off x="3932459" y="2440197"/>
                <a:ext cx="1118452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400">
                    <a:latin typeface="+mj-lt"/>
                  </a:rPr>
                  <a:t>Experiment </a:t>
                </a:r>
                <a:endParaRPr lang="en-GB" sz="1400" dirty="0">
                  <a:latin typeface="+mj-lt"/>
                </a:endParaRP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BFA78746-A41B-85DB-5611-7317AC8C12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2348" y="2756205"/>
                <a:ext cx="2786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427DC4-7147-9CEE-CEEE-0630E464803C}"/>
                </a:ext>
              </a:extLst>
            </p:cNvPr>
            <p:cNvSpPr txBox="1"/>
            <p:nvPr/>
          </p:nvSpPr>
          <p:spPr>
            <a:xfrm>
              <a:off x="3501685" y="2958818"/>
              <a:ext cx="1980000" cy="4154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GB" sz="900"/>
                <a:t>Experiment configuration, such as the number of trials, the random seed, and the logging level.</a:t>
              </a:r>
              <a:endParaRPr lang="en-GB" sz="90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EF82143-4A94-1D5E-FDCD-379C5D987CC9}"/>
              </a:ext>
            </a:extLst>
          </p:cNvPr>
          <p:cNvSpPr txBox="1"/>
          <p:nvPr/>
        </p:nvSpPr>
        <p:spPr>
          <a:xfrm>
            <a:off x="7437001" y="1245938"/>
            <a:ext cx="4200263" cy="42627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kern="0" dirty="0">
                <a:latin typeface="+mj-lt"/>
              </a:rPr>
              <a:t>What is configuration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“Settings” for your machine-learning cod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A way to define requirements for </a:t>
            </a:r>
            <a:r>
              <a:rPr lang="en-GB" sz="1400" kern="0" dirty="0">
                <a:solidFill>
                  <a:schemeClr val="accent1"/>
                </a:solidFill>
                <a:latin typeface="+mn-lt"/>
              </a:rPr>
              <a:t>data, logging and parameters in different environmen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Helps keep credentials out of your code bas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Keep all parameters in one place</a:t>
            </a:r>
          </a:p>
          <a:p>
            <a:pPr>
              <a:spcAft>
                <a:spcPts val="600"/>
              </a:spcAft>
            </a:pPr>
            <a:endParaRPr lang="en-GB" sz="1400" kern="0" dirty="0"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GB" kern="0" dirty="0">
                <a:latin typeface="+mj-lt"/>
              </a:rPr>
              <a:t>What does configuration help you do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Machine learning code that transitions from </a:t>
            </a:r>
            <a:r>
              <a:rPr lang="en-GB" sz="1400" kern="0" dirty="0">
                <a:solidFill>
                  <a:schemeClr val="accent1"/>
                </a:solidFill>
                <a:latin typeface="+mn-lt"/>
              </a:rPr>
              <a:t>prototype to production </a:t>
            </a:r>
            <a:r>
              <a:rPr lang="en-GB" sz="1400" kern="0" dirty="0">
                <a:latin typeface="+mn-lt"/>
              </a:rPr>
              <a:t>with little effor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kern="0" dirty="0">
                <a:latin typeface="+mn-lt"/>
              </a:rPr>
              <a:t>Makes it possible to write generalisable and </a:t>
            </a:r>
            <a:r>
              <a:rPr lang="en-GB" sz="1400" kern="0" dirty="0">
                <a:solidFill>
                  <a:schemeClr val="accent1"/>
                </a:solidFill>
                <a:latin typeface="+mn-lt"/>
              </a:rPr>
              <a:t>reusable</a:t>
            </a:r>
            <a:r>
              <a:rPr lang="en-GB" sz="1400" kern="0" dirty="0">
                <a:latin typeface="+mn-lt"/>
              </a:rPr>
              <a:t> analytics code that does not require significant modification to be used</a:t>
            </a:r>
          </a:p>
          <a:p>
            <a:endParaRPr lang="en-GB" sz="1400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C0C3046-44D4-6EB6-C458-B4090FDDF33D}"/>
              </a:ext>
            </a:extLst>
          </p:cNvPr>
          <p:cNvGrpSpPr/>
          <p:nvPr/>
        </p:nvGrpSpPr>
        <p:grpSpPr>
          <a:xfrm>
            <a:off x="414425" y="4130352"/>
            <a:ext cx="2103958" cy="1946898"/>
            <a:chOff x="414425" y="4130352"/>
            <a:chExt cx="2103958" cy="1946898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FFEA2FE7-32F7-22C8-5D5F-9F80E45BC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5318" y="4130352"/>
              <a:ext cx="849135" cy="849135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996AFE8-CFBA-C7A3-2740-44560FBE2DDB}"/>
                </a:ext>
              </a:extLst>
            </p:cNvPr>
            <p:cNvGrpSpPr/>
            <p:nvPr/>
          </p:nvGrpSpPr>
          <p:grpSpPr>
            <a:xfrm>
              <a:off x="414425" y="5015743"/>
              <a:ext cx="2103958" cy="1061507"/>
              <a:chOff x="47768" y="2439455"/>
              <a:chExt cx="2103958" cy="106150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9503556-25DC-E8D3-6EA0-41BF35A518C4}"/>
                  </a:ext>
                </a:extLst>
              </p:cNvPr>
              <p:cNvGrpSpPr/>
              <p:nvPr/>
            </p:nvGrpSpPr>
            <p:grpSpPr>
              <a:xfrm>
                <a:off x="199747" y="2439455"/>
                <a:ext cx="1800000" cy="316750"/>
                <a:chOff x="199747" y="2439455"/>
                <a:chExt cx="1800000" cy="316750"/>
              </a:xfrm>
            </p:grpSpPr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2213B787-53EB-3C25-DCBC-BF55715FAB10}"/>
                    </a:ext>
                  </a:extLst>
                </p:cNvPr>
                <p:cNvSpPr txBox="1"/>
                <p:nvPr/>
              </p:nvSpPr>
              <p:spPr>
                <a:xfrm>
                  <a:off x="199747" y="2439455"/>
                  <a:ext cx="1800000" cy="20005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lvl="0" indent="0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Segoe UI" panose="020B0502040204020203" pitchFamily="34" charset="0"/>
                    <a:buChar char="​"/>
                    <a:defRPr lang="en-US" sz="1600" dirty="0">
                      <a:cs typeface="Arial" panose="020B0604020202020204" pitchFamily="34" charset="0"/>
                    </a:defRPr>
                  </a:lvl1pPr>
                  <a:lvl2pPr marL="228600" lvl="1" indent="-22860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Wingdings" panose="05000000000000000000" pitchFamily="2" charset="2"/>
                    <a:buChar char=""/>
                    <a:defRPr lang="en-US" sz="1600" dirty="0"/>
                  </a:lvl2pPr>
                  <a:lvl3pPr marL="512064" lvl="2" indent="-283464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—"/>
                    <a:defRPr lang="en-US" sz="1600" dirty="0"/>
                  </a:lvl3pPr>
                  <a:lvl4pPr marL="740664" lvl="3" indent="-18288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»"/>
                    <a:defRPr lang="en-US" sz="1600" dirty="0"/>
                  </a:lvl4pPr>
                  <a:lvl5pPr marL="914400" lvl="4" indent="-13716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›"/>
                    <a:defRPr lang="en-US" sz="1600" dirty="0"/>
                  </a:lvl5pPr>
                  <a:lvl6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6pPr>
                  <a:lvl7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7pPr>
                  <a:lvl8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8pPr>
                  <a:lvl9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buNone/>
                  </a:pPr>
                  <a:r>
                    <a:rPr lang="en-GB" sz="1300">
                      <a:latin typeface="+mj-lt"/>
                    </a:rPr>
                    <a:t>Location of Input Data</a:t>
                  </a:r>
                  <a:endParaRPr lang="en-GB" sz="1300" dirty="0">
                    <a:latin typeface="+mj-lt"/>
                  </a:endParaRPr>
                </a:p>
              </p:txBody>
            </p: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E78B9EE2-A27E-BEA7-0E60-F5F8D6F5048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60410" y="2756205"/>
                  <a:ext cx="278675" cy="0"/>
                </a:xfrm>
                <a:prstGeom prst="line">
                  <a:avLst/>
                </a:prstGeom>
                <a:ln w="6350" cap="flat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1CE051F-C3BA-2C22-FA36-647ED8CC7666}"/>
                  </a:ext>
                </a:extLst>
              </p:cNvPr>
              <p:cNvSpPr txBox="1"/>
              <p:nvPr/>
            </p:nvSpPr>
            <p:spPr>
              <a:xfrm>
                <a:off x="47768" y="2946964"/>
                <a:ext cx="2103958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900"/>
                  <a:t>Paths to files and directories, so the code knows where to find the data it needs. Also specify required columns or filters.</a:t>
                </a:r>
                <a:endParaRPr lang="en-GB" sz="900" dirty="0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44FCB6C-E569-4060-C6FA-201F70D1C0A7}"/>
              </a:ext>
            </a:extLst>
          </p:cNvPr>
          <p:cNvGrpSpPr/>
          <p:nvPr/>
        </p:nvGrpSpPr>
        <p:grpSpPr>
          <a:xfrm>
            <a:off x="2775001" y="4052347"/>
            <a:ext cx="1980000" cy="2026976"/>
            <a:chOff x="2775001" y="4052347"/>
            <a:chExt cx="1980000" cy="2026976"/>
          </a:xfrm>
        </p:grpSpPr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405A73EB-44FE-9359-D4AF-EF895E945B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281655" y="4052347"/>
              <a:ext cx="959823" cy="959823"/>
            </a:xfrm>
            <a:prstGeom prst="rect">
              <a:avLst/>
            </a:prstGeom>
          </p:spPr>
        </p:pic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F648641-F5DA-FBCA-EF32-8FDC91CEC25D}"/>
                </a:ext>
              </a:extLst>
            </p:cNvPr>
            <p:cNvGrpSpPr/>
            <p:nvPr/>
          </p:nvGrpSpPr>
          <p:grpSpPr>
            <a:xfrm>
              <a:off x="2775001" y="5006704"/>
              <a:ext cx="1980000" cy="1072619"/>
              <a:chOff x="109747" y="2440197"/>
              <a:chExt cx="1980000" cy="1072619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46B4E1E-2305-FB8B-5567-E27472072663}"/>
                  </a:ext>
                </a:extLst>
              </p:cNvPr>
              <p:cNvGrpSpPr/>
              <p:nvPr/>
            </p:nvGrpSpPr>
            <p:grpSpPr>
              <a:xfrm>
                <a:off x="540521" y="2440197"/>
                <a:ext cx="1118452" cy="316008"/>
                <a:chOff x="540521" y="2440197"/>
                <a:chExt cx="1118452" cy="316008"/>
              </a:xfrm>
            </p:grpSpPr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BDE7FB39-E72B-04E4-6E0D-88CC099DDBAD}"/>
                    </a:ext>
                  </a:extLst>
                </p:cNvPr>
                <p:cNvSpPr txBox="1"/>
                <p:nvPr/>
              </p:nvSpPr>
              <p:spPr>
                <a:xfrm>
                  <a:off x="540521" y="2440197"/>
                  <a:ext cx="1118452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lvl="0" indent="0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Segoe UI" panose="020B0502040204020203" pitchFamily="34" charset="0"/>
                    <a:buChar char="​"/>
                    <a:defRPr lang="en-US" sz="1600" dirty="0">
                      <a:cs typeface="Arial" panose="020B0604020202020204" pitchFamily="34" charset="0"/>
                    </a:defRPr>
                  </a:lvl1pPr>
                  <a:lvl2pPr marL="228600" lvl="1" indent="-22860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Wingdings" panose="05000000000000000000" pitchFamily="2" charset="2"/>
                    <a:buChar char=""/>
                    <a:defRPr lang="en-US" sz="1600" dirty="0"/>
                  </a:lvl2pPr>
                  <a:lvl3pPr marL="512064" lvl="2" indent="-283464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—"/>
                    <a:defRPr lang="en-US" sz="1600" dirty="0"/>
                  </a:lvl3pPr>
                  <a:lvl4pPr marL="740664" lvl="3" indent="-18288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»"/>
                    <a:defRPr lang="en-US" sz="1600" dirty="0"/>
                  </a:lvl4pPr>
                  <a:lvl5pPr marL="914400" lvl="4" indent="-13716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>
                      <a:schemeClr val="tx1"/>
                    </a:buClr>
                    <a:buSzPct val="100000"/>
                    <a:buFont typeface="Arial" panose="020B0604020202020204" pitchFamily="34" charset="0"/>
                    <a:buChar char="›"/>
                    <a:defRPr lang="en-US" sz="1600" dirty="0"/>
                  </a:lvl5pPr>
                  <a:lvl6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6pPr>
                  <a:lvl7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7pPr>
                  <a:lvl8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8pPr>
                  <a:lvl9pPr marL="1085850" indent="-17145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SzPct val="100000"/>
                    <a:buFont typeface="Arial" panose="020B0604020202020204" pitchFamily="34" charset="0"/>
                    <a:buChar char="▫"/>
                    <a:defRPr sz="1600">
                      <a:cs typeface="Arial" panose="020B0604020202020204" pitchFamily="34" charset="0"/>
                    </a:defRPr>
                  </a:lvl9pPr>
                </a:lstStyle>
                <a:p>
                  <a:pPr algn="ctr"/>
                  <a:r>
                    <a:rPr lang="en-GB" sz="1400">
                      <a:latin typeface="+mj-lt"/>
                    </a:rPr>
                    <a:t>Credentials</a:t>
                  </a:r>
                  <a:endParaRPr lang="en-GB" sz="1400" dirty="0">
                    <a:latin typeface="+mj-lt"/>
                  </a:endParaRPr>
                </a:p>
              </p:txBody>
            </p: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A833359A-3821-CFBA-D9F0-5C83E82927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60410" y="2756205"/>
                  <a:ext cx="278675" cy="0"/>
                </a:xfrm>
                <a:prstGeom prst="line">
                  <a:avLst/>
                </a:prstGeom>
                <a:ln w="6350" cap="flat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CAE7693-853D-6A38-311B-22D8FBC79092}"/>
                  </a:ext>
                </a:extLst>
              </p:cNvPr>
              <p:cNvSpPr txBox="1"/>
              <p:nvPr/>
            </p:nvSpPr>
            <p:spPr>
              <a:xfrm>
                <a:off x="109747" y="2958818"/>
                <a:ext cx="1980000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900"/>
                  <a:t>Connection information for databases and other data sources, such as server address and credentials.</a:t>
                </a:r>
                <a:endParaRPr lang="en-GB" sz="900" dirty="0"/>
              </a:p>
            </p:txBody>
          </p: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DCB7CE1-0372-3316-B6B6-2BB71E497847}"/>
              </a:ext>
            </a:extLst>
          </p:cNvPr>
          <p:cNvGrpSpPr/>
          <p:nvPr/>
        </p:nvGrpSpPr>
        <p:grpSpPr>
          <a:xfrm>
            <a:off x="4980103" y="5006704"/>
            <a:ext cx="2160000" cy="943900"/>
            <a:chOff x="19747" y="2430416"/>
            <a:chExt cx="2160000" cy="943900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EE3B303-ABBE-01C0-9C8F-6A8C327818F3}"/>
                </a:ext>
              </a:extLst>
            </p:cNvPr>
            <p:cNvGrpSpPr/>
            <p:nvPr/>
          </p:nvGrpSpPr>
          <p:grpSpPr>
            <a:xfrm>
              <a:off x="19747" y="2430416"/>
              <a:ext cx="2160000" cy="325789"/>
              <a:chOff x="19747" y="2430416"/>
              <a:chExt cx="2160000" cy="325789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8C7318B6-A6D7-01E3-8E25-14FF2E01FE61}"/>
                  </a:ext>
                </a:extLst>
              </p:cNvPr>
              <p:cNvSpPr txBox="1"/>
              <p:nvPr/>
            </p:nvSpPr>
            <p:spPr>
              <a:xfrm>
                <a:off x="19747" y="2430416"/>
                <a:ext cx="2160000" cy="20005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600" dirty="0"/>
                </a:lvl2pPr>
                <a:lvl3pPr marL="512064" lvl="2" indent="-28346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—"/>
                  <a:defRPr lang="en-US" sz="1600" dirty="0"/>
                </a:lvl3pPr>
                <a:lvl4pPr marL="740664" lvl="3" indent="-18288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»"/>
                  <a:defRPr lang="en-US" sz="1600" dirty="0"/>
                </a:lvl4pPr>
                <a:lvl5pPr marL="914400" lvl="4" indent="-13716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GB" sz="1300">
                    <a:latin typeface="+mj-lt"/>
                  </a:rPr>
                  <a:t>Location of Output Results</a:t>
                </a:r>
                <a:endParaRPr lang="en-GB" sz="1300" dirty="0">
                  <a:latin typeface="+mj-lt"/>
                </a:endParaRPr>
              </a:p>
            </p:txBody>
          </p: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15F59375-910F-0987-2796-9B3D9973D1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0410" y="2756205"/>
                <a:ext cx="2786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DE55FF7-6CDD-5B1C-3534-BBB132439184}"/>
                </a:ext>
              </a:extLst>
            </p:cNvPr>
            <p:cNvSpPr txBox="1"/>
            <p:nvPr/>
          </p:nvSpPr>
          <p:spPr>
            <a:xfrm>
              <a:off x="109747" y="2958818"/>
              <a:ext cx="1980000" cy="4154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>
                <a:buNone/>
              </a:pPr>
              <a:r>
                <a:rPr lang="en-GB" sz="900"/>
                <a:t>Output settings, such as the directory for saving the results, file format, and level of verbosity.</a:t>
              </a:r>
              <a:endParaRPr lang="en-GB" sz="900" dirty="0"/>
            </a:p>
          </p:txBody>
        </p: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7CFE17BF-FEA4-8026-7BF6-F9635F9E932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85330" y="4139663"/>
            <a:ext cx="821339" cy="821339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0901DF58-313D-D7F3-C608-748649DE418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33805" y="1770818"/>
            <a:ext cx="704294" cy="704294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179432F1-6942-717A-A00B-E0B8600671F8}"/>
              </a:ext>
            </a:extLst>
          </p:cNvPr>
          <p:cNvSpPr txBox="1"/>
          <p:nvPr/>
        </p:nvSpPr>
        <p:spPr>
          <a:xfrm>
            <a:off x="5928527" y="41198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pic>
        <p:nvPicPr>
          <p:cNvPr id="3" name="Picture Placeholder 9">
            <a:extLst>
              <a:ext uri="{FF2B5EF4-FFF2-40B4-BE49-F238E27FC236}">
                <a16:creationId xmlns:a16="http://schemas.microsoft.com/office/drawing/2014/main" id="{D7F214D9-97EC-7716-20CC-8E6E797B1C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413" r="413"/>
          <a:stretch>
            <a:fillRect/>
          </a:stretch>
        </p:blipFill>
        <p:spPr>
          <a:xfrm>
            <a:off x="554656" y="612076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1083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 hidden="1">
            <a:extLst>
              <a:ext uri="{FF2B5EF4-FFF2-40B4-BE49-F238E27FC236}">
                <a16:creationId xmlns:a16="http://schemas.microsoft.com/office/drawing/2014/main" id="{94D5D00C-38D1-4829-B882-CB870EB0B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94D5D00C-38D1-4829-B882-CB870EB0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27">
            <a:extLst>
              <a:ext uri="{FF2B5EF4-FFF2-40B4-BE49-F238E27FC236}">
                <a16:creationId xmlns:a16="http://schemas.microsoft.com/office/drawing/2014/main" id="{8AB4F80A-11A0-5CFB-CA73-EDF8CEE26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725" y="1190747"/>
            <a:ext cx="3813048" cy="769441"/>
          </a:xfrm>
        </p:spPr>
        <p:txBody>
          <a:bodyPr vert="horz"/>
          <a:lstStyle/>
          <a:p>
            <a:r>
              <a:rPr lang="en-GB" sz="2500" dirty="0">
                <a:latin typeface="+mj-lt"/>
              </a:rPr>
              <a:t>Data catalo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D54F1-B0A7-1B05-50E6-6E92511AB3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956DAF2-8E3F-194B-A09A-89BFE48BB639}"/>
              </a:ext>
            </a:extLst>
          </p:cNvPr>
          <p:cNvSpPr txBox="1">
            <a:spLocks/>
          </p:cNvSpPr>
          <p:nvPr/>
        </p:nvSpPr>
        <p:spPr>
          <a:xfrm>
            <a:off x="685285" y="1902958"/>
            <a:ext cx="6824103" cy="4300695"/>
          </a:xfrm>
          <a:prstGeom prst="rect">
            <a:avLst/>
          </a:prstGeom>
          <a:noFill/>
        </p:spPr>
        <p:txBody>
          <a:bodyPr vert="horz" wrap="square" lIns="0" tIns="0" rIns="0" bIns="0" numCol="1" spcCol="288000" rtlCol="0" anchor="t" anchorCtr="0"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26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 dirty="0"/>
              <a:t>What is the Catalog?</a:t>
            </a:r>
          </a:p>
          <a:p>
            <a:endParaRPr lang="en-US" sz="1800" kern="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Manages the </a:t>
            </a:r>
            <a:r>
              <a:rPr lang="en-US" sz="1400" kern="0" dirty="0">
                <a:solidFill>
                  <a:schemeClr val="accent1"/>
                </a:solidFill>
                <a:latin typeface="+mn-lt"/>
              </a:rPr>
              <a:t>loading and saving </a:t>
            </a:r>
            <a:r>
              <a:rPr lang="en-US" sz="1400" kern="0" dirty="0">
                <a:latin typeface="+mn-lt"/>
              </a:rPr>
              <a:t>of your dat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Available as a code or YAML API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Versioning is available for file-based systems every time the pipeline ru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kern="0" dirty="0"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1800" kern="0" dirty="0"/>
              <a:t>What does the Catalog help you do?</a:t>
            </a:r>
            <a:endParaRPr lang="en-US" sz="1800" kern="0" dirty="0">
              <a:latin typeface="+mn-lt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Never write a single line of code that would read or write to a file, database or storage system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Makes it possible to write </a:t>
            </a:r>
            <a:r>
              <a:rPr lang="en-GB" sz="1400" kern="0" dirty="0">
                <a:solidFill>
                  <a:schemeClr val="accent1"/>
                </a:solidFill>
                <a:latin typeface="+mn-lt"/>
              </a:rPr>
              <a:t>generalisable</a:t>
            </a:r>
            <a:r>
              <a:rPr lang="en-US" sz="1400" kern="0" dirty="0">
                <a:solidFill>
                  <a:schemeClr val="accent1"/>
                </a:solidFill>
                <a:latin typeface="+mn-lt"/>
              </a:rPr>
              <a:t> and reusable </a:t>
            </a:r>
            <a:r>
              <a:rPr lang="en-US" sz="1400" kern="0" dirty="0">
                <a:latin typeface="+mn-lt"/>
              </a:rPr>
              <a:t>analytics code that does not require significant modification to be use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kern="0" dirty="0">
                <a:latin typeface="+mn-lt"/>
              </a:rPr>
              <a:t>Access data without leaking credentials</a:t>
            </a:r>
          </a:p>
        </p:txBody>
      </p:sp>
      <p:pic>
        <p:nvPicPr>
          <p:cNvPr id="2" name="Picture Placeholder 9">
            <a:extLst>
              <a:ext uri="{FF2B5EF4-FFF2-40B4-BE49-F238E27FC236}">
                <a16:creationId xmlns:a16="http://schemas.microsoft.com/office/drawing/2014/main" id="{516D911D-8CEC-B7D6-473B-09E137D9B8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37815C-2A81-32D8-86AB-7701FED2B5C2}"/>
              </a:ext>
            </a:extLst>
          </p:cNvPr>
          <p:cNvSpPr txBox="1"/>
          <p:nvPr/>
        </p:nvSpPr>
        <p:spPr>
          <a:xfrm>
            <a:off x="10199077" y="590843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6832528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6A586E7-29E0-C837-5732-785CACFFCE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6A586E7-29E0-C837-5732-785CACFFC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469534-46BA-DC29-DF9F-6CB4A73291E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Kedro connects datasets and nodes through pipelines</a:t>
            </a:r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54F25EA9-BEDC-CFA1-43C7-7B418C128F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600" dirty="0">
                <a:solidFill>
                  <a:srgbClr val="B3B3B3"/>
                </a:solidFill>
              </a:rPr>
              <a:t>Nodes are normal Python functions and datasets are declared in YAM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A8458A-7024-A9FD-54A6-E2CF7A50A1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FFE30F-1D4A-9F8A-21C3-657D8261952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07796" y="1637040"/>
            <a:ext cx="3600000" cy="4263529"/>
          </a:xfrm>
          <a:prstGeom prst="rect">
            <a:avLst/>
          </a:prstGeom>
        </p:spPr>
      </p:pic>
      <p:sp>
        <p:nvSpPr>
          <p:cNvPr id="12" name="Rounded Rectangle 8">
            <a:extLst>
              <a:ext uri="{FF2B5EF4-FFF2-40B4-BE49-F238E27FC236}">
                <a16:creationId xmlns:a16="http://schemas.microsoft.com/office/drawing/2014/main" id="{B32C5D91-3B73-B84F-8D6D-AB44CC79FF9E}"/>
              </a:ext>
            </a:extLst>
          </p:cNvPr>
          <p:cNvSpPr/>
          <p:nvPr/>
        </p:nvSpPr>
        <p:spPr>
          <a:xfrm>
            <a:off x="1586926" y="5365369"/>
            <a:ext cx="1326351" cy="46444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A11B3">
                  <a:lumMod val="20000"/>
                  <a:lumOff val="80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Consolas" panose="020B0609020204030204" pitchFamily="49" charset="0"/>
            </a:endParaRPr>
          </a:p>
        </p:txBody>
      </p:sp>
      <p:sp>
        <p:nvSpPr>
          <p:cNvPr id="13" name="Rounded Rectangle 6">
            <a:extLst>
              <a:ext uri="{FF2B5EF4-FFF2-40B4-BE49-F238E27FC236}">
                <a16:creationId xmlns:a16="http://schemas.microsoft.com/office/drawing/2014/main" id="{D8C163FE-53A6-F7B4-B44A-F5C50AE5AB04}"/>
              </a:ext>
            </a:extLst>
          </p:cNvPr>
          <p:cNvSpPr/>
          <p:nvPr/>
        </p:nvSpPr>
        <p:spPr>
          <a:xfrm>
            <a:off x="834158" y="1645668"/>
            <a:ext cx="966856" cy="46444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Consolas" panose="020B0609020204030204" pitchFamily="49" charset="0"/>
            </a:endParaRPr>
          </a:p>
        </p:txBody>
      </p:sp>
      <p:sp>
        <p:nvSpPr>
          <p:cNvPr id="15" name="Rounded Rectangle 20">
            <a:extLst>
              <a:ext uri="{FF2B5EF4-FFF2-40B4-BE49-F238E27FC236}">
                <a16:creationId xmlns:a16="http://schemas.microsoft.com/office/drawing/2014/main" id="{C36B7BD8-5349-8261-D8F4-5AF01E818DA0}"/>
              </a:ext>
            </a:extLst>
          </p:cNvPr>
          <p:cNvSpPr/>
          <p:nvPr/>
        </p:nvSpPr>
        <p:spPr>
          <a:xfrm>
            <a:off x="1884494" y="1645668"/>
            <a:ext cx="832433" cy="46444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A11B3">
                  <a:lumMod val="20000"/>
                  <a:lumOff val="80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Consolas" panose="020B0609020204030204" pitchFamily="49" charset="0"/>
            </a:endParaRPr>
          </a:p>
        </p:txBody>
      </p:sp>
      <p:sp>
        <p:nvSpPr>
          <p:cNvPr id="18" name="Rounded Rectangle 21">
            <a:extLst>
              <a:ext uri="{FF2B5EF4-FFF2-40B4-BE49-F238E27FC236}">
                <a16:creationId xmlns:a16="http://schemas.microsoft.com/office/drawing/2014/main" id="{F8282F61-716C-4BAC-759E-93A710311341}"/>
              </a:ext>
            </a:extLst>
          </p:cNvPr>
          <p:cNvSpPr/>
          <p:nvPr/>
        </p:nvSpPr>
        <p:spPr>
          <a:xfrm>
            <a:off x="2759343" y="1644057"/>
            <a:ext cx="832433" cy="464440"/>
          </a:xfrm>
          <a:prstGeom prst="round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A11B3">
                  <a:lumMod val="20000"/>
                  <a:lumOff val="80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Consolas" panose="020B0609020204030204" pitchFamily="49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F44A3E9-F346-D01C-152E-DE9164B9164F}"/>
              </a:ext>
            </a:extLst>
          </p:cNvPr>
          <p:cNvSpPr>
            <a:spLocks/>
          </p:cNvSpPr>
          <p:nvPr/>
        </p:nvSpPr>
        <p:spPr>
          <a:xfrm>
            <a:off x="4162087" y="1636284"/>
            <a:ext cx="3763256" cy="3192737"/>
          </a:xfrm>
          <a:prstGeom prst="roundRect">
            <a:avLst>
              <a:gd name="adj" fmla="val 3096"/>
            </a:avLst>
          </a:prstGeom>
          <a:noFill/>
          <a:ln w="12700" cap="sq">
            <a:solidFill>
              <a:schemeClr val="tx2">
                <a:lumMod val="20000"/>
                <a:lumOff val="80000"/>
              </a:schemeClr>
            </a:solidFill>
            <a:miter lim="800000"/>
          </a:ln>
          <a:effectLst>
            <a:outerShdw blurRad="50800" dist="38100" dir="2700000" sx="1000" sy="1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E80529D-897B-AD24-8A8D-6EA162DB2DCC}"/>
              </a:ext>
            </a:extLst>
          </p:cNvPr>
          <p:cNvSpPr/>
          <p:nvPr/>
        </p:nvSpPr>
        <p:spPr>
          <a:xfrm>
            <a:off x="4343510" y="1711368"/>
            <a:ext cx="72000" cy="72000"/>
          </a:xfrm>
          <a:prstGeom prst="ellipse">
            <a:avLst/>
          </a:prstGeom>
          <a:solidFill>
            <a:schemeClr val="bg1">
              <a:lumMod val="75000"/>
              <a:lumOff val="2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F585CC5-6892-658A-C409-5203D84A5C28}"/>
              </a:ext>
            </a:extLst>
          </p:cNvPr>
          <p:cNvSpPr/>
          <p:nvPr/>
        </p:nvSpPr>
        <p:spPr>
          <a:xfrm>
            <a:off x="4459928" y="1711368"/>
            <a:ext cx="72000" cy="72000"/>
          </a:xfrm>
          <a:prstGeom prst="ellipse">
            <a:avLst/>
          </a:prstGeom>
          <a:solidFill>
            <a:schemeClr val="bg1">
              <a:lumMod val="75000"/>
              <a:lumOff val="2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72C44B-4AF5-D26E-2332-53DC2B4598E5}"/>
              </a:ext>
            </a:extLst>
          </p:cNvPr>
          <p:cNvSpPr txBox="1"/>
          <p:nvPr/>
        </p:nvSpPr>
        <p:spPr>
          <a:xfrm>
            <a:off x="4283676" y="1967965"/>
            <a:ext cx="3641667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atalog.yml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ompani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yp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andas.CSVDatase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ile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data/01_raw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ompanies.csv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huttl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yp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andas.ExcelDatase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ile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data/01_raw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huttles.xlsx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view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yp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andas.CSVDatase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ile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data/01_raw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views.csv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odel_input_tabl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yp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andas.ParquetDataset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ilepa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s3:/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y_buck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odel_input_table.pq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versione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rue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9AA54E1D-2F43-30FA-D65C-99CD32F889F5}"/>
              </a:ext>
            </a:extLst>
          </p:cNvPr>
          <p:cNvSpPr/>
          <p:nvPr/>
        </p:nvSpPr>
        <p:spPr>
          <a:xfrm>
            <a:off x="4227092" y="2274248"/>
            <a:ext cx="774032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F2078D9-3C05-F6A0-179D-BA6E3DB40E77}"/>
              </a:ext>
            </a:extLst>
          </p:cNvPr>
          <p:cNvSpPr/>
          <p:nvPr/>
        </p:nvSpPr>
        <p:spPr>
          <a:xfrm>
            <a:off x="4238647" y="2886603"/>
            <a:ext cx="669289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9C14EA47-1D3C-78B7-1A9E-591CE0C28746}"/>
              </a:ext>
            </a:extLst>
          </p:cNvPr>
          <p:cNvSpPr/>
          <p:nvPr/>
        </p:nvSpPr>
        <p:spPr>
          <a:xfrm>
            <a:off x="4238647" y="3495248"/>
            <a:ext cx="593575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17C7C18B-4534-365E-C5DC-102CF214E356}"/>
              </a:ext>
            </a:extLst>
          </p:cNvPr>
          <p:cNvSpPr/>
          <p:nvPr/>
        </p:nvSpPr>
        <p:spPr>
          <a:xfrm>
            <a:off x="4238647" y="4103893"/>
            <a:ext cx="1350722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8AFBBF9-612B-C9A8-66D6-066F77B47AC5}"/>
              </a:ext>
            </a:extLst>
          </p:cNvPr>
          <p:cNvSpPr>
            <a:spLocks/>
          </p:cNvSpPr>
          <p:nvPr/>
        </p:nvSpPr>
        <p:spPr>
          <a:xfrm>
            <a:off x="8079634" y="1636284"/>
            <a:ext cx="3801286" cy="4106381"/>
          </a:xfrm>
          <a:prstGeom prst="roundRect">
            <a:avLst>
              <a:gd name="adj" fmla="val 3096"/>
            </a:avLst>
          </a:prstGeom>
          <a:solidFill>
            <a:schemeClr val="bg1"/>
          </a:solidFill>
          <a:ln w="12700" cap="sq">
            <a:solidFill>
              <a:schemeClr val="tx2">
                <a:lumMod val="20000"/>
                <a:lumOff val="80000"/>
              </a:schemeClr>
            </a:solidFill>
            <a:miter lim="800000"/>
          </a:ln>
          <a:effectLst>
            <a:outerShdw blurRad="50800" dist="38100" dir="2700000" sx="1000" sy="1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08BE291-BB1A-A890-9B62-570C14D8E8A6}"/>
              </a:ext>
            </a:extLst>
          </p:cNvPr>
          <p:cNvSpPr/>
          <p:nvPr/>
        </p:nvSpPr>
        <p:spPr>
          <a:xfrm>
            <a:off x="8139433" y="1711368"/>
            <a:ext cx="72000" cy="72000"/>
          </a:xfrm>
          <a:prstGeom prst="ellipse">
            <a:avLst/>
          </a:prstGeom>
          <a:solidFill>
            <a:schemeClr val="bg1">
              <a:lumMod val="75000"/>
              <a:lumOff val="2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F4CC29F-35B1-633E-D06B-E642C3D7E866}"/>
              </a:ext>
            </a:extLst>
          </p:cNvPr>
          <p:cNvSpPr/>
          <p:nvPr/>
        </p:nvSpPr>
        <p:spPr>
          <a:xfrm>
            <a:off x="8255851" y="1711368"/>
            <a:ext cx="72000" cy="72000"/>
          </a:xfrm>
          <a:prstGeom prst="ellipse">
            <a:avLst/>
          </a:prstGeom>
          <a:solidFill>
            <a:schemeClr val="bg1">
              <a:lumMod val="75000"/>
              <a:lumOff val="2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B9C017C-3B2D-696E-95B2-3887892EDCAA}"/>
              </a:ext>
            </a:extLst>
          </p:cNvPr>
          <p:cNvSpPr/>
          <p:nvPr/>
        </p:nvSpPr>
        <p:spPr>
          <a:xfrm>
            <a:off x="8372269" y="1711368"/>
            <a:ext cx="72000" cy="72000"/>
          </a:xfrm>
          <a:prstGeom prst="ellipse">
            <a:avLst/>
          </a:prstGeom>
          <a:solidFill>
            <a:schemeClr val="bg1">
              <a:lumMod val="75000"/>
              <a:lumOff val="2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91D7DA8-0200-A3D8-CD00-4FBDB5459159}"/>
              </a:ext>
            </a:extLst>
          </p:cNvPr>
          <p:cNvSpPr txBox="1"/>
          <p:nvPr/>
        </p:nvSpPr>
        <p:spPr>
          <a:xfrm>
            <a:off x="8196017" y="1967965"/>
            <a:ext cx="3641667" cy="3693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ipelines.py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def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reate_pipeli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**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kwarg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):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tur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ipeli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[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no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un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_compani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in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companies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out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ed_compani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)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no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un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_shuttl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in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shuttles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out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ed_shuttl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)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no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fun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C900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reate_model_input_tabl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in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[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ed_shuttl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eprocessed_compani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reviews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]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outpu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=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odel_input_tabl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FFBC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),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]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C900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8580D5A7-223A-BE5B-C986-9698D3E90100}"/>
              </a:ext>
            </a:extLst>
          </p:cNvPr>
          <p:cNvSpPr/>
          <p:nvPr/>
        </p:nvSpPr>
        <p:spPr>
          <a:xfrm>
            <a:off x="9161164" y="2885936"/>
            <a:ext cx="774032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2DF4D03-E8AC-28FD-9221-8E5CBE77805C}"/>
              </a:ext>
            </a:extLst>
          </p:cNvPr>
          <p:cNvSpPr/>
          <p:nvPr/>
        </p:nvSpPr>
        <p:spPr>
          <a:xfrm>
            <a:off x="9172719" y="3644230"/>
            <a:ext cx="774032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C8DE8F08-EF7A-5004-A53D-D6E9A4DFE808}"/>
              </a:ext>
            </a:extLst>
          </p:cNvPr>
          <p:cNvSpPr/>
          <p:nvPr/>
        </p:nvSpPr>
        <p:spPr>
          <a:xfrm>
            <a:off x="8747552" y="4872207"/>
            <a:ext cx="774032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995FA650-7169-1D40-6961-FDB76C0E88AD}"/>
              </a:ext>
            </a:extLst>
          </p:cNvPr>
          <p:cNvSpPr/>
          <p:nvPr/>
        </p:nvSpPr>
        <p:spPr>
          <a:xfrm>
            <a:off x="9249015" y="5162120"/>
            <a:ext cx="1462524" cy="158025"/>
          </a:xfrm>
          <a:prstGeom prst="roundRect">
            <a:avLst>
              <a:gd name="adj" fmla="val 8584"/>
            </a:avLst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ABF2B767-EE3A-F618-9D82-E9EB58AC92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766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1E1DD1-7297-50A0-5732-2E16915F9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1E1DD1-7297-50A0-5732-2E16915F9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8">
            <a:extLst>
              <a:ext uri="{FF2B5EF4-FFF2-40B4-BE49-F238E27FC236}">
                <a16:creationId xmlns:a16="http://schemas.microsoft.com/office/drawing/2014/main" id="{37EB965C-82C3-3A12-6200-CEC3AE4343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7FFA15A-FD98-081D-8E69-0C0492178D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E57A25-8853-22B0-3C8D-45915DF83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B4BC9D-3A6D-7DD3-7CE6-A9CC04151B60}"/>
              </a:ext>
            </a:extLst>
          </p:cNvPr>
          <p:cNvSpPr txBox="1"/>
          <p:nvPr/>
        </p:nvSpPr>
        <p:spPr>
          <a:xfrm>
            <a:off x="554736" y="2171700"/>
            <a:ext cx="11082528" cy="240065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dirty="0"/>
              <a:t>About me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kern="100" dirty="0">
                <a:ea typeface="Aptos" panose="020B0004020202020204" pitchFamily="34" charset="0"/>
                <a:cs typeface="Times New Roman" panose="02020603050405020304" pitchFamily="18" charset="0"/>
              </a:rPr>
              <a:t>Common challenges for data practitione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tro to Kedro</a:t>
            </a:r>
            <a:endParaRPr lang="en-GB" sz="1800" kern="1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odularity 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eparation of conc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intainabilit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Q&amp;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D485F6-836B-5E74-999C-9F65E1DEC9C7}"/>
              </a:ext>
            </a:extLst>
          </p:cNvPr>
          <p:cNvSpPr txBox="1"/>
          <p:nvPr/>
        </p:nvSpPr>
        <p:spPr>
          <a:xfrm>
            <a:off x="5065059" y="499334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DBBD007-FC02-D971-4D54-633ED92A92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9038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207A6-E22D-8EED-2030-3F95C77A2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A758BB-608A-955C-DAE2-663D3E4A90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758BB-608A-955C-DAE2-663D3E4A9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7ACFA8-DC39-A2F8-98A6-7B6D68C23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data science project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AC5AF9EB-0D91-8E98-288B-D846AA3571E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efore refacto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AA756-9BB0-3AF6-8AEB-E555AC6E6B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B225270-2C66-3C04-3DFA-DF1FD07BC8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91667" y="650381"/>
            <a:ext cx="8332147" cy="5557237"/>
          </a:xfrm>
          <a:prstGeom prst="rect">
            <a:avLst/>
          </a:prstGeom>
        </p:spPr>
      </p:pic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FE1DC87C-BD5C-FC15-59A4-0A8B3D637E36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FB5122D-891E-A04C-0AD3-E5CEFD247067}"/>
              </a:ext>
            </a:extLst>
          </p:cNvPr>
          <p:cNvSpPr/>
          <p:nvPr/>
        </p:nvSpPr>
        <p:spPr>
          <a:xfrm>
            <a:off x="3758084" y="1085222"/>
            <a:ext cx="3285811" cy="482321"/>
          </a:xfrm>
          <a:prstGeom prst="rect">
            <a:avLst/>
          </a:prstGeom>
          <a:noFill/>
          <a:ln w="190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EF536C-4910-C159-A23E-A2776F6980DC}"/>
              </a:ext>
            </a:extLst>
          </p:cNvPr>
          <p:cNvSpPr/>
          <p:nvPr/>
        </p:nvSpPr>
        <p:spPr>
          <a:xfrm>
            <a:off x="3758084" y="4240404"/>
            <a:ext cx="7968342" cy="291403"/>
          </a:xfrm>
          <a:prstGeom prst="rect">
            <a:avLst/>
          </a:prstGeom>
          <a:noFill/>
          <a:ln w="190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0CC1F5-EE93-0334-0FF0-2F62BE257B01}"/>
              </a:ext>
            </a:extLst>
          </p:cNvPr>
          <p:cNvSpPr/>
          <p:nvPr/>
        </p:nvSpPr>
        <p:spPr>
          <a:xfrm flipV="1">
            <a:off x="7074041" y="4708196"/>
            <a:ext cx="1868992" cy="291404"/>
          </a:xfrm>
          <a:prstGeom prst="rect">
            <a:avLst/>
          </a:prstGeom>
          <a:noFill/>
          <a:ln w="190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773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F8F0E8-5EDA-859D-DAFD-05E49EBA88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CCFFEB1-3AA3-89D0-705F-0F21CCA5C8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CFFEB1-3AA3-89D0-705F-0F21CCA5C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0D9CFD-C4DD-01E2-BFEF-732BD91A3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eparate data I/O and configuration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C2447F3A-8BCF-5E36-25C3-A8B0FC2E36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ut I/O information and parameters in configu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A9AE6-B5F8-D4A1-D1AC-E726FD1DCC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AB07A734-F483-6E44-B2FE-2397AE156CBB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 contrast="-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13" name="Picture 12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4B4F0C59-9AB9-C21C-9E9E-3C517794E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76035" y="-419230"/>
            <a:ext cx="6342582" cy="4648330"/>
          </a:xfrm>
          <a:prstGeom prst="rect">
            <a:avLst/>
          </a:prstGeom>
        </p:spPr>
      </p:pic>
      <p:pic>
        <p:nvPicPr>
          <p:cNvPr id="15" name="Picture 1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0FCF4FE-3896-4248-B80D-96411FBC05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15101" y="3133446"/>
            <a:ext cx="5962650" cy="417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8841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468A9-07B1-532F-2E0A-F0DD7788D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CB71D0-97E5-AE3C-6616-8909BF6B1F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CB71D0-97E5-AE3C-6616-8909BF6B1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5ABF39B5-E662-7A52-640E-71FC0A92145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2349"/>
          <a:stretch/>
        </p:blipFill>
        <p:spPr>
          <a:xfrm>
            <a:off x="3069336" y="-172720"/>
            <a:ext cx="6035339" cy="48937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7C5A4A-EF97-7EB9-E2DD-16AE7B0E5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ata I/O handled by the </a:t>
            </a:r>
            <a:r>
              <a:rPr lang="en-GB" dirty="0" err="1"/>
              <a:t>DataCatalog</a:t>
            </a:r>
            <a:endParaRPr lang="en-GB" dirty="0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00C6FE46-A515-4E23-8422-3415D35558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100" dirty="0"/>
              <a:t>No longer need code to read or save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A9A5BF-D649-B8B3-2936-5384B20E83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C1082B39-BA23-03E6-23E3-9C5008EC486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27" name="Picture 26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6D5FEED-C6CC-8F04-58C7-F19BA48916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82942" y="1567544"/>
            <a:ext cx="6309058" cy="54617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F445EEA-5AD2-5DF6-46AF-994EB7619B0E}"/>
              </a:ext>
            </a:extLst>
          </p:cNvPr>
          <p:cNvSpPr/>
          <p:nvPr/>
        </p:nvSpPr>
        <p:spPr>
          <a:xfrm>
            <a:off x="3454400" y="711200"/>
            <a:ext cx="3241040" cy="772160"/>
          </a:xfrm>
          <a:prstGeom prst="rect">
            <a:avLst/>
          </a:prstGeom>
          <a:noFill/>
          <a:ln w="349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FBE56B-8114-DE75-2B61-8EB107E08109}"/>
              </a:ext>
            </a:extLst>
          </p:cNvPr>
          <p:cNvSpPr/>
          <p:nvPr/>
        </p:nvSpPr>
        <p:spPr>
          <a:xfrm>
            <a:off x="6959600" y="3178680"/>
            <a:ext cx="3667760" cy="819517"/>
          </a:xfrm>
          <a:prstGeom prst="rect">
            <a:avLst/>
          </a:prstGeom>
          <a:noFill/>
          <a:ln w="34925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6780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E921A-C2BB-D8A2-B3DD-AAB3423AA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99B766-EA83-560A-7A4F-4CDA1CADA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99B766-EA83-560A-7A4F-4CDA1CADA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6263EEEF-DDA2-525C-3E3C-F17C35DB554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2349"/>
          <a:stretch/>
        </p:blipFill>
        <p:spPr>
          <a:xfrm>
            <a:off x="3087629" y="-182880"/>
            <a:ext cx="6035339" cy="48937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4063D2-ECAB-D3CA-2D9C-8C7EED5CB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ata I/O handled by the </a:t>
            </a:r>
            <a:r>
              <a:rPr lang="en-GB" dirty="0" err="1"/>
              <a:t>DataCatalog</a:t>
            </a:r>
            <a:endParaRPr lang="en-GB" dirty="0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2015876-93AE-68AF-0636-3EE7AF3B6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100" dirty="0"/>
              <a:t>No longer need code to read or save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C7FDE3-AB63-AB65-BF8D-C79D4EBF96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C0B545F0-C297-5F9F-EEB1-B0D43AAFB41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27" name="Picture 26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F6D46D1C-1D22-AC2B-24AC-BE269709FA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82942" y="1567544"/>
            <a:ext cx="6309058" cy="5461768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13E6346-3B85-E60B-7F7E-9A2FDE2E9D76}"/>
              </a:ext>
            </a:extLst>
          </p:cNvPr>
          <p:cNvCxnSpPr/>
          <p:nvPr/>
        </p:nvCxnSpPr>
        <p:spPr>
          <a:xfrm flipV="1">
            <a:off x="3668395" y="826135"/>
            <a:ext cx="2867025" cy="590550"/>
          </a:xfrm>
          <a:prstGeom prst="line">
            <a:avLst/>
          </a:prstGeom>
          <a:ln w="19050">
            <a:solidFill>
              <a:schemeClr val="accent1"/>
            </a:solidFill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93F1FA8-4640-3939-C194-FB398085FB9A}"/>
              </a:ext>
            </a:extLst>
          </p:cNvPr>
          <p:cNvSpPr txBox="1"/>
          <p:nvPr/>
        </p:nvSpPr>
        <p:spPr>
          <a:xfrm>
            <a:off x="9258300" y="62865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90AF53-B2DE-6339-CFF2-BA5F447109A4}"/>
              </a:ext>
            </a:extLst>
          </p:cNvPr>
          <p:cNvCxnSpPr>
            <a:cxnSpLocks/>
          </p:cNvCxnSpPr>
          <p:nvPr/>
        </p:nvCxnSpPr>
        <p:spPr>
          <a:xfrm flipV="1">
            <a:off x="7104889" y="3429000"/>
            <a:ext cx="3467861" cy="399921"/>
          </a:xfrm>
          <a:prstGeom prst="line">
            <a:avLst/>
          </a:prstGeom>
          <a:ln w="19050">
            <a:solidFill>
              <a:schemeClr val="accent1"/>
            </a:solidFill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47574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024C7C-3D4A-C09D-01FA-3CA894F91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651ED6-9F13-3CDC-A83D-BDEF582FC9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651ED6-9F13-3CDC-A83D-BDEF582FC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461A6FE4-3257-C2C7-C563-DA8E281ED0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0776" y="-260373"/>
            <a:ext cx="7772400" cy="4584073"/>
          </a:xfrm>
          <a:prstGeom prst="rect">
            <a:avLst/>
          </a:prstGeom>
        </p:spPr>
      </p:pic>
      <p:pic>
        <p:nvPicPr>
          <p:cNvPr id="17" name="Picture 1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B6524E3-600D-E515-7B4A-145DB5B157A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19608"/>
          <a:stretch/>
        </p:blipFill>
        <p:spPr>
          <a:xfrm>
            <a:off x="5588000" y="2031663"/>
            <a:ext cx="6248400" cy="4967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A17FD0-131F-F5EC-8F56-2F526C8E0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“Settings” put into configuration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CF1EF731-FE66-36F2-F7D6-0822E84556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e parameters from confi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D8A70C-40BA-CD60-574B-52F1475AD3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7B780A18-9228-6226-A22C-516A481AFF8E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100000" contrast="-100000"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C60CE3-D4E6-ECCC-B690-67C599A58AEB}"/>
              </a:ext>
            </a:extLst>
          </p:cNvPr>
          <p:cNvSpPr txBox="1"/>
          <p:nvPr/>
        </p:nvSpPr>
        <p:spPr>
          <a:xfrm>
            <a:off x="-532563" y="-107517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13" name="Frame 12">
            <a:extLst>
              <a:ext uri="{FF2B5EF4-FFF2-40B4-BE49-F238E27FC236}">
                <a16:creationId xmlns:a16="http://schemas.microsoft.com/office/drawing/2014/main" id="{7CD2B6B1-20B1-01F8-4516-7F2BA72443B2}"/>
              </a:ext>
            </a:extLst>
          </p:cNvPr>
          <p:cNvSpPr/>
          <p:nvPr/>
        </p:nvSpPr>
        <p:spPr>
          <a:xfrm>
            <a:off x="5588000" y="1213913"/>
            <a:ext cx="2895600" cy="208487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4" name="Frame 13">
            <a:extLst>
              <a:ext uri="{FF2B5EF4-FFF2-40B4-BE49-F238E27FC236}">
                <a16:creationId xmlns:a16="http://schemas.microsoft.com/office/drawing/2014/main" id="{A8014E01-0229-8F06-1270-56A1C765362F}"/>
              </a:ext>
            </a:extLst>
          </p:cNvPr>
          <p:cNvSpPr/>
          <p:nvPr/>
        </p:nvSpPr>
        <p:spPr>
          <a:xfrm>
            <a:off x="6601456" y="3962400"/>
            <a:ext cx="5107085" cy="287996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1903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83455-8503-465C-DB7B-0766FC0B0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B8DB41-9907-8BB2-00EB-D7063AC50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B8DB41-9907-8BB2-00EB-D7063AC50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79DF92-79A4-CCAE-5429-D498ED7A3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“Settings” put into configuration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380A1B58-98DD-4BD6-8145-F063C7474A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e parameters from confi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3B7CEC-80D8-07D0-5433-99E28C37CD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F7E4CAA3-1AA9-D212-A808-7E6CE9CD5404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 contrast="-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96C275-34C8-906D-E4A0-01D64E77946C}"/>
              </a:ext>
            </a:extLst>
          </p:cNvPr>
          <p:cNvSpPr txBox="1"/>
          <p:nvPr/>
        </p:nvSpPr>
        <p:spPr>
          <a:xfrm>
            <a:off x="-532563" y="-107517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86D9D368-2BBF-AFDE-644C-E35B59A288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1382" y="-263423"/>
            <a:ext cx="7772400" cy="4874597"/>
          </a:xfrm>
          <a:prstGeom prst="rect">
            <a:avLst/>
          </a:prstGeom>
        </p:spPr>
      </p:pic>
      <p:sp>
        <p:nvSpPr>
          <p:cNvPr id="13" name="Frame 12">
            <a:extLst>
              <a:ext uri="{FF2B5EF4-FFF2-40B4-BE49-F238E27FC236}">
                <a16:creationId xmlns:a16="http://schemas.microsoft.com/office/drawing/2014/main" id="{9D407FF2-4A62-DAE8-E27D-3A6DB740121F}"/>
              </a:ext>
            </a:extLst>
          </p:cNvPr>
          <p:cNvSpPr/>
          <p:nvPr/>
        </p:nvSpPr>
        <p:spPr>
          <a:xfrm>
            <a:off x="5839456" y="617416"/>
            <a:ext cx="1130304" cy="225864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pic>
        <p:nvPicPr>
          <p:cNvPr id="15" name="Picture 1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358155ED-561B-90C2-E3B3-FE7C536EA21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r="23163"/>
          <a:stretch/>
        </p:blipFill>
        <p:spPr>
          <a:xfrm>
            <a:off x="6098037" y="1798026"/>
            <a:ext cx="5972043" cy="5436187"/>
          </a:xfrm>
          <a:prstGeom prst="rect">
            <a:avLst/>
          </a:prstGeom>
        </p:spPr>
      </p:pic>
      <p:sp>
        <p:nvSpPr>
          <p:cNvPr id="14" name="Frame 13">
            <a:extLst>
              <a:ext uri="{FF2B5EF4-FFF2-40B4-BE49-F238E27FC236}">
                <a16:creationId xmlns:a16="http://schemas.microsoft.com/office/drawing/2014/main" id="{682F5B09-8D31-4EB8-3484-ACCFD0705ADD}"/>
              </a:ext>
            </a:extLst>
          </p:cNvPr>
          <p:cNvSpPr/>
          <p:nvPr/>
        </p:nvSpPr>
        <p:spPr>
          <a:xfrm>
            <a:off x="7426324" y="3953412"/>
            <a:ext cx="3780156" cy="212188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4" name="Frame 3">
            <a:extLst>
              <a:ext uri="{FF2B5EF4-FFF2-40B4-BE49-F238E27FC236}">
                <a16:creationId xmlns:a16="http://schemas.microsoft.com/office/drawing/2014/main" id="{9AD1156D-A77D-5C0A-BD3F-ED70A936A459}"/>
              </a:ext>
            </a:extLst>
          </p:cNvPr>
          <p:cNvSpPr/>
          <p:nvPr/>
        </p:nvSpPr>
        <p:spPr>
          <a:xfrm>
            <a:off x="4537628" y="1210491"/>
            <a:ext cx="4683489" cy="225864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E21CB102-4DE8-1614-CB23-7874E256444A}"/>
              </a:ext>
            </a:extLst>
          </p:cNvPr>
          <p:cNvSpPr/>
          <p:nvPr/>
        </p:nvSpPr>
        <p:spPr>
          <a:xfrm>
            <a:off x="4148006" y="801022"/>
            <a:ext cx="1947994" cy="225864"/>
          </a:xfrm>
          <a:prstGeom prst="fram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9447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2330F-AF55-5495-B702-24FB41D2C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A8BC0D56-EB1C-52CD-0687-5EFFA2D61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A8BC0D56-EB1C-52CD-0687-5EFFA2D61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F3C6DE5A-72AD-063B-B41D-94547E561AAF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27F1C4-99E6-9FED-6765-89AFCD98797C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ACCE12E-D7E7-B1F8-04DE-599328767281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A700B86-68B9-3EF0-5246-5AB82E1B391F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4A15ABEE-1FFE-00D9-6D92-D6554FB858B5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BA20A0D-1B78-8C6B-CE50-16DF450F6847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1F426048-B9CA-233A-55B4-042AB56FA5BC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B02283E-50E6-0807-D819-E773C283F117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47D612A-78DC-4417-278A-ED09009C6F29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rgbClr val="FFC90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A5748E5-E3D6-5D69-C69D-F4E82C7B65FE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FA3965-8A4F-C6BF-9A8E-94FB73C25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217" y="3137952"/>
            <a:ext cx="6858572" cy="307777"/>
          </a:xfrm>
        </p:spPr>
        <p:txBody>
          <a:bodyPr/>
          <a:lstStyle/>
          <a:p>
            <a:pPr>
              <a:buNone/>
            </a:pPr>
            <a:r>
              <a:rPr lang="en-GB" sz="2000" kern="100" dirty="0"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Maintainability</a:t>
            </a:r>
            <a:endParaRPr lang="en-GB" sz="2000" kern="100" dirty="0"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2039F0-D52C-330B-B171-D9583F17F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6</a:t>
            </a:r>
          </a:p>
        </p:txBody>
      </p:sp>
      <p:pic>
        <p:nvPicPr>
          <p:cNvPr id="6" name="Picture Placeholder 9">
            <a:extLst>
              <a:ext uri="{FF2B5EF4-FFF2-40B4-BE49-F238E27FC236}">
                <a16:creationId xmlns:a16="http://schemas.microsoft.com/office/drawing/2014/main" id="{A406FB99-46E0-A7EF-776B-850D3B8A36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911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9E4CEF-CE13-0BBE-4DDA-A71D26519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9E4CEF-CE13-0BBE-4DDA-A71D26519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1C88FC-FB13-7257-5BBF-2F6C01BCC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14280"/>
            <a:ext cx="11082528" cy="430887"/>
          </a:xfrm>
        </p:spPr>
        <p:txBody>
          <a:bodyPr vert="horz"/>
          <a:lstStyle/>
          <a:p>
            <a:r>
              <a:rPr lang="en-GB" sz="2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intainability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5593963-AC48-398F-A1E4-456E8D8F0C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76FAFB-310F-0E2F-FB9F-CE5A6A5EA6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F18595-2F17-AED4-1F12-6B62AEDAC412}"/>
              </a:ext>
            </a:extLst>
          </p:cNvPr>
          <p:cNvSpPr txBox="1"/>
          <p:nvPr/>
        </p:nvSpPr>
        <p:spPr>
          <a:xfrm>
            <a:off x="554736" y="2170800"/>
            <a:ext cx="10092944" cy="13465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GB" dirty="0"/>
              <a:t>A measure of how easy it is to </a:t>
            </a:r>
            <a:r>
              <a:rPr lang="en-GB" dirty="0">
                <a:solidFill>
                  <a:schemeClr val="accent1"/>
                </a:solidFill>
              </a:rPr>
              <a:t>understand</a:t>
            </a:r>
            <a:r>
              <a:rPr lang="en-GB" dirty="0"/>
              <a:t>, </a:t>
            </a:r>
            <a:r>
              <a:rPr lang="en-GB" dirty="0">
                <a:solidFill>
                  <a:schemeClr val="accent1"/>
                </a:solidFill>
              </a:rPr>
              <a:t>modify</a:t>
            </a:r>
            <a:r>
              <a:rPr lang="en-GB" dirty="0"/>
              <a:t>, and </a:t>
            </a:r>
            <a:r>
              <a:rPr lang="en-GB" dirty="0">
                <a:solidFill>
                  <a:schemeClr val="accent1"/>
                </a:solidFill>
              </a:rPr>
              <a:t>improve</a:t>
            </a:r>
            <a:r>
              <a:rPr lang="en-GB" dirty="0"/>
              <a:t> software.</a:t>
            </a:r>
          </a:p>
          <a:p>
            <a:pPr lvl="1"/>
            <a:r>
              <a:rPr lang="en-GB" dirty="0">
                <a:solidFill>
                  <a:schemeClr val="accent1"/>
                </a:solidFill>
              </a:rPr>
              <a:t>Testability</a:t>
            </a:r>
            <a:r>
              <a:rPr lang="en-GB" dirty="0"/>
              <a:t>: verifies that your code meets different requirements (functional, business, performance, reliability, etc..)</a:t>
            </a:r>
          </a:p>
          <a:p>
            <a:pPr lvl="1"/>
            <a:r>
              <a:rPr lang="en-GB" dirty="0">
                <a:solidFill>
                  <a:schemeClr val="accent1"/>
                </a:solidFill>
              </a:rPr>
              <a:t>Readability</a:t>
            </a:r>
            <a:r>
              <a:rPr lang="en-GB" dirty="0"/>
              <a:t>: linted, formatted and documented code</a:t>
            </a:r>
          </a:p>
          <a:p>
            <a:pPr lvl="1"/>
            <a:r>
              <a:rPr lang="en-GB" dirty="0">
                <a:solidFill>
                  <a:schemeClr val="accent1"/>
                </a:solidFill>
              </a:rPr>
              <a:t>Findability</a:t>
            </a:r>
            <a:r>
              <a:rPr lang="en-GB" dirty="0"/>
              <a:t>: structure and organisation of code </a:t>
            </a:r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A6AB8B7B-ABED-F482-C453-C54C9662C5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0922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EA99132C-64ED-E188-4874-5914A0E2E7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99132C-64ED-E188-4874-5914A0E2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17">
            <a:extLst>
              <a:ext uri="{FF2B5EF4-FFF2-40B4-BE49-F238E27FC236}">
                <a16:creationId xmlns:a16="http://schemas.microsoft.com/office/drawing/2014/main" id="{7C257861-A6B2-4710-6CEE-E854D3C367D1}"/>
              </a:ext>
            </a:extLst>
          </p:cNvPr>
          <p:cNvSpPr/>
          <p:nvPr/>
        </p:nvSpPr>
        <p:spPr>
          <a:xfrm>
            <a:off x="-7462" y="1311"/>
            <a:ext cx="6103462" cy="6857999"/>
          </a:xfrm>
          <a:custGeom>
            <a:avLst/>
            <a:gdLst>
              <a:gd name="connsiteX0" fmla="*/ 0 w 12191999"/>
              <a:gd name="connsiteY0" fmla="*/ 0 h 6857999"/>
              <a:gd name="connsiteX1" fmla="*/ 12191999 w 12191999"/>
              <a:gd name="connsiteY1" fmla="*/ 0 h 6857999"/>
              <a:gd name="connsiteX2" fmla="*/ 12191999 w 12191999"/>
              <a:gd name="connsiteY2" fmla="*/ 6857999 h 6857999"/>
              <a:gd name="connsiteX3" fmla="*/ 0 w 12191999"/>
              <a:gd name="connsiteY3" fmla="*/ 6857999 h 6857999"/>
              <a:gd name="connsiteX4" fmla="*/ 0 w 12191999"/>
              <a:gd name="connsiteY4" fmla="*/ 0 h 6857999"/>
              <a:gd name="connsiteX0" fmla="*/ 10886 w 12202885"/>
              <a:gd name="connsiteY0" fmla="*/ 0 h 6857999"/>
              <a:gd name="connsiteX1" fmla="*/ 12202885 w 12202885"/>
              <a:gd name="connsiteY1" fmla="*/ 0 h 6857999"/>
              <a:gd name="connsiteX2" fmla="*/ 12202885 w 12202885"/>
              <a:gd name="connsiteY2" fmla="*/ 6857999 h 6857999"/>
              <a:gd name="connsiteX3" fmla="*/ 10886 w 12202885"/>
              <a:gd name="connsiteY3" fmla="*/ 6857999 h 6857999"/>
              <a:gd name="connsiteX4" fmla="*/ 0 w 12202885"/>
              <a:gd name="connsiteY4" fmla="*/ 3363686 h 6857999"/>
              <a:gd name="connsiteX5" fmla="*/ 10886 w 12202885"/>
              <a:gd name="connsiteY5" fmla="*/ 0 h 6857999"/>
              <a:gd name="connsiteX0" fmla="*/ 10886 w 12202885"/>
              <a:gd name="connsiteY0" fmla="*/ 0 h 6857999"/>
              <a:gd name="connsiteX1" fmla="*/ 12202885 w 12202885"/>
              <a:gd name="connsiteY1" fmla="*/ 0 h 6857999"/>
              <a:gd name="connsiteX2" fmla="*/ 12192000 w 12202885"/>
              <a:gd name="connsiteY2" fmla="*/ 3222171 h 6857999"/>
              <a:gd name="connsiteX3" fmla="*/ 12202885 w 12202885"/>
              <a:gd name="connsiteY3" fmla="*/ 6857999 h 6857999"/>
              <a:gd name="connsiteX4" fmla="*/ 10886 w 12202885"/>
              <a:gd name="connsiteY4" fmla="*/ 6857999 h 6857999"/>
              <a:gd name="connsiteX5" fmla="*/ 0 w 12202885"/>
              <a:gd name="connsiteY5" fmla="*/ 3363686 h 6857999"/>
              <a:gd name="connsiteX6" fmla="*/ 10886 w 12202885"/>
              <a:gd name="connsiteY6" fmla="*/ 0 h 6857999"/>
              <a:gd name="connsiteX0" fmla="*/ 10886 w 12217809"/>
              <a:gd name="connsiteY0" fmla="*/ 0 h 6857999"/>
              <a:gd name="connsiteX1" fmla="*/ 12202885 w 12217809"/>
              <a:gd name="connsiteY1" fmla="*/ 0 h 6857999"/>
              <a:gd name="connsiteX2" fmla="*/ 12217400 w 12217809"/>
              <a:gd name="connsiteY2" fmla="*/ 3227251 h 6857999"/>
              <a:gd name="connsiteX3" fmla="*/ 12202885 w 12217809"/>
              <a:gd name="connsiteY3" fmla="*/ 6857999 h 6857999"/>
              <a:gd name="connsiteX4" fmla="*/ 10886 w 12217809"/>
              <a:gd name="connsiteY4" fmla="*/ 6857999 h 6857999"/>
              <a:gd name="connsiteX5" fmla="*/ 0 w 12217809"/>
              <a:gd name="connsiteY5" fmla="*/ 3363686 h 6857999"/>
              <a:gd name="connsiteX6" fmla="*/ 10886 w 12217809"/>
              <a:gd name="connsiteY6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809" h="6857999">
                <a:moveTo>
                  <a:pt x="10886" y="0"/>
                </a:moveTo>
                <a:lnTo>
                  <a:pt x="12202885" y="0"/>
                </a:lnTo>
                <a:cubicBezTo>
                  <a:pt x="12199257" y="1074057"/>
                  <a:pt x="12221028" y="2153194"/>
                  <a:pt x="12217400" y="3227251"/>
                </a:cubicBezTo>
                <a:cubicBezTo>
                  <a:pt x="12221028" y="4439194"/>
                  <a:pt x="12199257" y="5646056"/>
                  <a:pt x="12202885" y="6857999"/>
                </a:cubicBezTo>
                <a:lnTo>
                  <a:pt x="10886" y="6857999"/>
                </a:lnTo>
                <a:cubicBezTo>
                  <a:pt x="7257" y="5693228"/>
                  <a:pt x="3629" y="4528457"/>
                  <a:pt x="0" y="3363686"/>
                </a:cubicBezTo>
                <a:cubicBezTo>
                  <a:pt x="3629" y="2242457"/>
                  <a:pt x="7257" y="1121229"/>
                  <a:pt x="10886" y="0"/>
                </a:cubicBezTo>
                <a:close/>
              </a:path>
            </a:pathLst>
          </a:cu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A2FD62-42FB-394E-9391-FACD25253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ject templat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19A4E4F-3082-5A85-B92A-679F569EE4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6127170-74E6-534C-B743-575F32B0AEAE}"/>
              </a:ext>
            </a:extLst>
          </p:cNvPr>
          <p:cNvGrpSpPr/>
          <p:nvPr/>
        </p:nvGrpSpPr>
        <p:grpSpPr>
          <a:xfrm>
            <a:off x="325671" y="3819887"/>
            <a:ext cx="1559633" cy="1620000"/>
            <a:chOff x="558126" y="954154"/>
            <a:chExt cx="1559633" cy="162000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95F2762-A575-AD46-A324-67CCDB201E51}"/>
                </a:ext>
              </a:extLst>
            </p:cNvPr>
            <p:cNvSpPr txBox="1"/>
            <p:nvPr/>
          </p:nvSpPr>
          <p:spPr>
            <a:xfrm>
              <a:off x="558126" y="2387901"/>
              <a:ext cx="1559633" cy="1862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b="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Source code</a:t>
              </a:r>
              <a:endParaRPr lang="en-GB" sz="1200" b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8BF7D12D-CB0F-6849-8A13-24B23F1D24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7942" y="954154"/>
              <a:ext cx="1260000" cy="126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38667E5-33F2-1041-8999-B9344A79538D}"/>
              </a:ext>
            </a:extLst>
          </p:cNvPr>
          <p:cNvGrpSpPr/>
          <p:nvPr/>
        </p:nvGrpSpPr>
        <p:grpSpPr>
          <a:xfrm>
            <a:off x="475488" y="1299943"/>
            <a:ext cx="1260000" cy="1620000"/>
            <a:chOff x="871129" y="1452394"/>
            <a:chExt cx="1260000" cy="162000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15E7DF1-2B52-984D-9058-1D17ABA09D18}"/>
                </a:ext>
              </a:extLst>
            </p:cNvPr>
            <p:cNvSpPr txBox="1"/>
            <p:nvPr/>
          </p:nvSpPr>
          <p:spPr>
            <a:xfrm>
              <a:off x="887118" y="2886141"/>
              <a:ext cx="1228023" cy="1862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b="0" dirty="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Configuration</a:t>
              </a: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B3B1F73-F2FD-A149-9B08-1D82CF342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1129" y="1452394"/>
              <a:ext cx="1260000" cy="12600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2EDFE80-1080-7D46-B5CE-DA9BEBC93DB8}"/>
              </a:ext>
            </a:extLst>
          </p:cNvPr>
          <p:cNvGrpSpPr/>
          <p:nvPr/>
        </p:nvGrpSpPr>
        <p:grpSpPr>
          <a:xfrm>
            <a:off x="2474845" y="3819887"/>
            <a:ext cx="1260000" cy="1620000"/>
            <a:chOff x="865753" y="954154"/>
            <a:chExt cx="1260000" cy="162000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E2C4A9D-146F-D24A-A60A-2AE8EBDA6B8B}"/>
                </a:ext>
              </a:extLst>
            </p:cNvPr>
            <p:cNvSpPr txBox="1"/>
            <p:nvPr/>
          </p:nvSpPr>
          <p:spPr>
            <a:xfrm>
              <a:off x="881742" y="2387901"/>
              <a:ext cx="1228023" cy="1862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b="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Tests</a:t>
              </a:r>
              <a:endParaRPr lang="en-GB" sz="1200" b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5BC658B-FCB2-3045-942D-5AC3EACCAC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5753" y="954154"/>
              <a:ext cx="1260000" cy="12600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6DE6F48-B883-3142-B82D-82C4036C63EB}"/>
              </a:ext>
            </a:extLst>
          </p:cNvPr>
          <p:cNvGrpSpPr/>
          <p:nvPr/>
        </p:nvGrpSpPr>
        <p:grpSpPr>
          <a:xfrm>
            <a:off x="2458856" y="1299943"/>
            <a:ext cx="1260000" cy="1620000"/>
            <a:chOff x="865753" y="954154"/>
            <a:chExt cx="1260000" cy="162000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F74056-5C67-3845-8FA9-74A7AE29AB73}"/>
                </a:ext>
              </a:extLst>
            </p:cNvPr>
            <p:cNvSpPr txBox="1"/>
            <p:nvPr/>
          </p:nvSpPr>
          <p:spPr>
            <a:xfrm>
              <a:off x="881742" y="2387901"/>
              <a:ext cx="1228023" cy="1862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b="0" dirty="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Notebooks</a:t>
              </a: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79B9AE6-AD3C-9D45-B3DA-9EE9A4285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5753" y="954154"/>
              <a:ext cx="1260000" cy="1260000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8303A61-0479-224E-8DF8-DD1CB464EC43}"/>
              </a:ext>
            </a:extLst>
          </p:cNvPr>
          <p:cNvGrpSpPr/>
          <p:nvPr/>
        </p:nvGrpSpPr>
        <p:grpSpPr>
          <a:xfrm>
            <a:off x="4370895" y="3819887"/>
            <a:ext cx="1403527" cy="1749203"/>
            <a:chOff x="865753" y="954154"/>
            <a:chExt cx="1403527" cy="1749203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D3F6644-2E5F-354E-B17A-C0FDF897CE00}"/>
                </a:ext>
              </a:extLst>
            </p:cNvPr>
            <p:cNvSpPr txBox="1"/>
            <p:nvPr/>
          </p:nvSpPr>
          <p:spPr>
            <a:xfrm>
              <a:off x="865753" y="2387901"/>
              <a:ext cx="1403527" cy="31545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Project Documentation</a:t>
              </a:r>
              <a:endParaRPr lang="en-GB" sz="1200" b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F55B9ABE-BD98-7843-BF19-DCC8C6E6E6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37516" y="954154"/>
              <a:ext cx="1260000" cy="12600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9735B23-6E14-9A4D-ABA3-8096200DDEB5}"/>
              </a:ext>
            </a:extLst>
          </p:cNvPr>
          <p:cNvGrpSpPr/>
          <p:nvPr/>
        </p:nvGrpSpPr>
        <p:grpSpPr>
          <a:xfrm>
            <a:off x="4442659" y="1299943"/>
            <a:ext cx="1260000" cy="1620000"/>
            <a:chOff x="865753" y="954154"/>
            <a:chExt cx="1260000" cy="16200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37F71CE-173D-7C46-99DA-4FA26D13BF4D}"/>
                </a:ext>
              </a:extLst>
            </p:cNvPr>
            <p:cNvSpPr txBox="1"/>
            <p:nvPr/>
          </p:nvSpPr>
          <p:spPr>
            <a:xfrm>
              <a:off x="881742" y="2387901"/>
              <a:ext cx="1228023" cy="1862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1200" b="0" dirty="0">
                  <a:latin typeface="+mn-lt"/>
                  <a:ea typeface="Helvetica Neue" panose="02000503000000020004" pitchFamily="2" charset="0"/>
                  <a:cs typeface="Helvetica Neue" panose="02000503000000020004" pitchFamily="2" charset="0"/>
                </a:rPr>
                <a:t>Data</a:t>
              </a: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971FD32E-D663-2743-8F0A-A916DEBE6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5753" y="954154"/>
              <a:ext cx="1260000" cy="1260000"/>
            </a:xfrm>
            <a:prstGeom prst="rect">
              <a:avLst/>
            </a:prstGeom>
          </p:spPr>
        </p:pic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BB676871-4350-FB46-9357-4312F774D628}"/>
              </a:ext>
            </a:extLst>
          </p:cNvPr>
          <p:cNvSpPr txBox="1">
            <a:spLocks/>
          </p:cNvSpPr>
          <p:nvPr/>
        </p:nvSpPr>
        <p:spPr>
          <a:xfrm>
            <a:off x="6525334" y="1632351"/>
            <a:ext cx="4996106" cy="4269147"/>
          </a:xfrm>
          <a:prstGeom prst="rect">
            <a:avLst/>
          </a:prstGeom>
          <a:noFill/>
        </p:spPr>
        <p:txBody>
          <a:bodyPr vert="horz" wrap="square" lIns="0" tIns="0" rIns="0" bIns="0" numCol="1" spcCol="288000" rtlCol="0" anchor="t" anchorCtr="0"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26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000" kern="0" dirty="0"/>
              <a:t>What is the project templat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Arial" panose="020B0604020202020204" pitchFamily="34" charset="0"/>
                <a:cs typeface="Arial" panose="020B0604020202020204" pitchFamily="34" charset="0"/>
              </a:rPr>
              <a:t>Standard and customisable </a:t>
            </a:r>
            <a:r>
              <a:rPr lang="en-GB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Arial"/>
                <a:cs typeface="Arial"/>
              </a:rPr>
              <a:t>Built-in support for Python logging, </a:t>
            </a:r>
            <a:r>
              <a:rPr lang="en-GB" sz="1600" kern="0" dirty="0" err="1">
                <a:latin typeface="Arial"/>
                <a:cs typeface="Arial"/>
              </a:rPr>
              <a:t>Pytest</a:t>
            </a:r>
            <a:r>
              <a:rPr lang="en-GB" sz="1600" kern="0" dirty="0">
                <a:latin typeface="Arial"/>
                <a:cs typeface="Arial"/>
              </a:rPr>
              <a:t> for unit tests and Sphinx for documentation</a:t>
            </a:r>
          </a:p>
          <a:p>
            <a:endParaRPr lang="en-GB" sz="2000" kern="0" dirty="0"/>
          </a:p>
          <a:p>
            <a:r>
              <a:rPr lang="en-GB" sz="2000" kern="0" dirty="0"/>
              <a:t>What does the project template help you d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Arial"/>
                <a:cs typeface="Arial"/>
              </a:rPr>
              <a:t>Establish </a:t>
            </a:r>
            <a:r>
              <a:rPr lang="en-GB" sz="1600" kern="0" dirty="0">
                <a:solidFill>
                  <a:schemeClr val="accent1"/>
                </a:solidFill>
                <a:latin typeface="Arial"/>
                <a:cs typeface="Arial"/>
              </a:rPr>
              <a:t>standardisation</a:t>
            </a:r>
            <a:r>
              <a:rPr lang="en-GB" sz="1600" kern="0" dirty="0">
                <a:latin typeface="Arial"/>
                <a:cs typeface="Arial"/>
              </a:rPr>
              <a:t> across your organ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Arial" panose="020B0604020202020204" pitchFamily="34" charset="0"/>
                <a:cs typeface="Arial" panose="020B0604020202020204" pitchFamily="34" charset="0"/>
              </a:rPr>
              <a:t>You spend less time digging around in previous projects for useful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Arial"/>
                <a:cs typeface="Arial"/>
              </a:rPr>
              <a:t>Makes it easier for collaborators to work with you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A05613C-11C4-A8D6-5904-1C468B0ED7FD}"/>
              </a:ext>
            </a:extLst>
          </p:cNvPr>
          <p:cNvSpPr txBox="1"/>
          <p:nvPr/>
        </p:nvSpPr>
        <p:spPr>
          <a:xfrm>
            <a:off x="4826000" y="283464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8023E6-FE87-3CAD-8E0A-5BFA974E399E}"/>
              </a:ext>
            </a:extLst>
          </p:cNvPr>
          <p:cNvSpPr txBox="1"/>
          <p:nvPr/>
        </p:nvSpPr>
        <p:spPr>
          <a:xfrm>
            <a:off x="4734560" y="283464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pic>
        <p:nvPicPr>
          <p:cNvPr id="35" name="Picture Placeholder 9">
            <a:extLst>
              <a:ext uri="{FF2B5EF4-FFF2-40B4-BE49-F238E27FC236}">
                <a16:creationId xmlns:a16="http://schemas.microsoft.com/office/drawing/2014/main" id="{29D0A6C7-B1FF-D0AA-16F5-7308A492B2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36" name="Picture 35" descr="A yellow sign with black text&#10;&#10;AI-generated content may be incorrect.">
            <a:extLst>
              <a:ext uri="{FF2B5EF4-FFF2-40B4-BE49-F238E27FC236}">
                <a16:creationId xmlns:a16="http://schemas.microsoft.com/office/drawing/2014/main" id="{253A8F48-196B-5F7B-7CC4-956249E601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1982" y="6364692"/>
            <a:ext cx="689043" cy="36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9046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ADD04C-E847-C859-4441-F3C5231B3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ADD04C-E847-C859-4441-F3C5231B3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20D7FAD-F33B-9D43-A140-6D8D14AB1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ject creation option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35878B0-CBCD-B407-749B-13E95C8498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clude linting, testing, logging and documentation setup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378361-65A0-E146-AC6C-C5E1A47320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656309F3-0E72-6544-AB7D-A047A7135D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41039" y="1452689"/>
            <a:ext cx="9115351" cy="3932111"/>
          </a:xfrm>
          <a:prstGeom prst="rect">
            <a:avLst/>
          </a:prstGeom>
        </p:spPr>
      </p:pic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8FB9B985-5E13-5680-5259-694620F5C0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399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D89F9E-A23B-E269-3C75-0838E56185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89F9E-A23B-E269-3C75-0838E5618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72069A-011E-2C72-6CD6-85A1EC68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AFB7DC6-F340-5B3E-804D-4D2249CC8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5D4003D-11C2-EBF1-9C0D-F45C0D6B79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036" t="3855" r="7525" b="1411"/>
          <a:stretch/>
        </p:blipFill>
        <p:spPr>
          <a:xfrm>
            <a:off x="7400393" y="789451"/>
            <a:ext cx="2555274" cy="2542998"/>
          </a:xfrm>
          <a:prstGeom prst="ellipse">
            <a:avLst/>
          </a:prstGeom>
          <a:noFill/>
          <a:ln w="47625">
            <a:solidFill>
              <a:schemeClr val="accent2"/>
            </a:solidFill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524C460E-F696-EE23-48D4-3E7478B60D40}"/>
              </a:ext>
            </a:extLst>
          </p:cNvPr>
          <p:cNvSpPr/>
          <p:nvPr/>
        </p:nvSpPr>
        <p:spPr>
          <a:xfrm>
            <a:off x="554656" y="2627671"/>
            <a:ext cx="69619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Pronouns: she/her ⭐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I’m from the Netherlands</a:t>
            </a:r>
            <a:r>
              <a:rPr lang="en-US" dirty="0">
                <a:ea typeface="Helvetica Neue" panose="02000503000000020004" pitchFamily="2" charset="0"/>
                <a:cs typeface="Helvetica Neue" panose="02000503000000020004" pitchFamily="2" charset="0"/>
              </a:rPr>
              <a:t> 🇳🇱</a:t>
            </a:r>
            <a:endParaRPr lang="en-US" b="1" dirty="0"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I’ve been working as a Software Engineer for 9 years 👩🏼‍💻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Currently Principal Software Engineer at </a:t>
            </a:r>
            <a:r>
              <a:rPr lang="en-GB" dirty="0" err="1">
                <a:ea typeface="Helvetica Neue" panose="02000503000000020004" pitchFamily="2" charset="0"/>
                <a:cs typeface="Helvetica Neue" panose="02000503000000020004" pitchFamily="2" charset="0"/>
              </a:rPr>
              <a:t>QuantumBlack</a:t>
            </a: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  ✨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ea typeface="Helvetica Neue" panose="02000503000000020004" pitchFamily="2" charset="0"/>
                <a:cs typeface="Helvetica Neue" panose="02000503000000020004" pitchFamily="2" charset="0"/>
              </a:rPr>
              <a:t>I’ve been the tech lead for Kedro for over 3 years 🚀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B0C4EA-9C46-AC9D-5593-91D4EF22BB7C}"/>
              </a:ext>
            </a:extLst>
          </p:cNvPr>
          <p:cNvSpPr/>
          <p:nvPr/>
        </p:nvSpPr>
        <p:spPr>
          <a:xfrm>
            <a:off x="554736" y="5384424"/>
            <a:ext cx="52981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tac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sng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erel.theisen@quantumblack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DA67F0-4F84-078D-0800-BD4A020DBE21}"/>
              </a:ext>
            </a:extLst>
          </p:cNvPr>
          <p:cNvSpPr txBox="1"/>
          <p:nvPr/>
        </p:nvSpPr>
        <p:spPr>
          <a:xfrm>
            <a:off x="3917576" y="580912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17" name="Picture Placeholder 9">
            <a:extLst>
              <a:ext uri="{FF2B5EF4-FFF2-40B4-BE49-F238E27FC236}">
                <a16:creationId xmlns:a16="http://schemas.microsoft.com/office/drawing/2014/main" id="{3D6E46BE-B1BA-2ACA-0DFE-F06CECFE5F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2931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EF3373-3427-5D5A-B7F8-F036020E21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EF3373-3427-5D5A-B7F8-F036020E2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8E6FBC7-7455-C4C8-95FD-D225263ED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ample Kedro project structur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B1F5B0D-0B30-629D-14BC-294E17867C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cluding test setup &amp; examp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43F46-DE2E-8120-B3EB-6F704D948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1071B25-05D6-56D2-D71D-049E056D19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8679" y="708688"/>
            <a:ext cx="8499853" cy="5143472"/>
          </a:xfrm>
          <a:prstGeom prst="rect">
            <a:avLst/>
          </a:prstGeom>
        </p:spPr>
      </p:pic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7D67254B-62BA-FD94-F51A-0EE3C4F8EB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8093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1E1DD1-7297-50A0-5732-2E16915F9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1E1DD1-7297-50A0-5732-2E16915F9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E57A25-8853-22B0-3C8D-45915DF83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Summary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3E67C1-2DB2-F4D5-1982-4A42ED9951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6AD02B-1597-1597-9901-8D31FAE76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D485F6-836B-5E74-999C-9F65E1DEC9C7}"/>
              </a:ext>
            </a:extLst>
          </p:cNvPr>
          <p:cNvSpPr txBox="1"/>
          <p:nvPr/>
        </p:nvSpPr>
        <p:spPr>
          <a:xfrm>
            <a:off x="5065059" y="499334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65A0F8-340A-F36E-2787-15153DC4FD9E}"/>
              </a:ext>
            </a:extLst>
          </p:cNvPr>
          <p:cNvSpPr txBox="1"/>
          <p:nvPr/>
        </p:nvSpPr>
        <p:spPr>
          <a:xfrm>
            <a:off x="554735" y="2170799"/>
            <a:ext cx="9013807" cy="10618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GB" dirty="0"/>
              <a:t>Software Engineering principles can elevate the quality and usability of your data science projects, even when experimental</a:t>
            </a:r>
          </a:p>
          <a:p>
            <a:pPr lvl="1"/>
            <a:r>
              <a:rPr lang="en-GB" dirty="0"/>
              <a:t>Kedro makes it easy to embed modularity, separation of concerns and maintainability</a:t>
            </a:r>
          </a:p>
          <a:p>
            <a:pPr lvl="1"/>
            <a:r>
              <a:rPr lang="en-GB" dirty="0"/>
              <a:t>It’s possible to establish and embed best practices without any tools</a:t>
            </a:r>
          </a:p>
        </p:txBody>
      </p:sp>
      <p:pic>
        <p:nvPicPr>
          <p:cNvPr id="9" name="Picture Placeholder 9">
            <a:extLst>
              <a:ext uri="{FF2B5EF4-FFF2-40B4-BE49-F238E27FC236}">
                <a16:creationId xmlns:a16="http://schemas.microsoft.com/office/drawing/2014/main" id="{6E0B60EB-FA4E-F16D-898D-5BAC3EEF85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3688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D07EED-C576-D159-4747-21040EE6F3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D07EED-C576-D159-4747-21040EE6F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indoor, screenshot&#10;&#10;Description automatically generated">
            <a:extLst>
              <a:ext uri="{FF2B5EF4-FFF2-40B4-BE49-F238E27FC236}">
                <a16:creationId xmlns:a16="http://schemas.microsoft.com/office/drawing/2014/main" id="{AEE92DA5-BC49-DC85-02D6-346AB5AEE01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279" r="9779"/>
          <a:stretch/>
        </p:blipFill>
        <p:spPr>
          <a:xfrm>
            <a:off x="10886" y="617594"/>
            <a:ext cx="6178635" cy="59982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EF0692-1230-D8A7-CA49-0A8136D49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dro Resour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48D739-C5C6-1158-DD67-7CB0AD9896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341D0E-A582-ECDC-D2E1-F8A63DAF6B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37B8465-9C54-EDB8-4E87-0258AC25C584}"/>
              </a:ext>
            </a:extLst>
          </p:cNvPr>
          <p:cNvGrpSpPr/>
          <p:nvPr/>
        </p:nvGrpSpPr>
        <p:grpSpPr>
          <a:xfrm>
            <a:off x="6977100" y="2042602"/>
            <a:ext cx="4660161" cy="731520"/>
            <a:chOff x="6977100" y="2042602"/>
            <a:chExt cx="4660161" cy="731520"/>
          </a:xfrm>
        </p:grpSpPr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E5684BD5-A26B-1AA4-CF4C-DF5484D008A6}"/>
                </a:ext>
              </a:extLst>
            </p:cNvPr>
            <p:cNvSpPr txBox="1">
              <a:spLocks/>
            </p:cNvSpPr>
            <p:nvPr/>
          </p:nvSpPr>
          <p:spPr>
            <a:xfrm>
              <a:off x="7903860" y="2042602"/>
              <a:ext cx="3733401" cy="731520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GB" sz="1200" dirty="0"/>
                <a:t>Convert existing work into a Kedro project</a:t>
              </a:r>
              <a:br>
                <a:rPr lang="en-GB" sz="1200" dirty="0"/>
              </a:br>
              <a:r>
                <a:rPr lang="en-GB" sz="1050" b="0" dirty="0"/>
                <a:t>We support workflows that take you from </a:t>
              </a:r>
              <a:r>
                <a:rPr lang="en-GB" sz="1050" b="0" dirty="0" err="1"/>
                <a:t>Jupyter</a:t>
              </a:r>
              <a:r>
                <a:rPr lang="en-GB" sz="1050" b="0" dirty="0"/>
                <a:t> notebooks and glue code scripts into a Kedro project.</a:t>
              </a:r>
              <a:br>
                <a:rPr lang="en-GB" sz="1050" b="0" dirty="0"/>
              </a:br>
              <a:r>
                <a:rPr lang="en-GB" sz="1050" u="sng" dirty="0" err="1"/>
                <a:t>blog.kedro.org</a:t>
              </a:r>
              <a:endParaRPr lang="en-US" sz="1100" u="sng" kern="0" dirty="0"/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6A55309E-33F3-A8E6-A50E-85BE0B807E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7026"/>
            <a:stretch/>
          </p:blipFill>
          <p:spPr>
            <a:xfrm>
              <a:off x="6977100" y="2042602"/>
              <a:ext cx="735330" cy="683668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362E34A-D246-05C4-89EA-9BF76D86C2EA}"/>
              </a:ext>
            </a:extLst>
          </p:cNvPr>
          <p:cNvGrpSpPr/>
          <p:nvPr/>
        </p:nvGrpSpPr>
        <p:grpSpPr>
          <a:xfrm>
            <a:off x="6976408" y="3024693"/>
            <a:ext cx="4660854" cy="735330"/>
            <a:chOff x="6976408" y="2903131"/>
            <a:chExt cx="4660854" cy="735330"/>
          </a:xfrm>
        </p:grpSpPr>
        <p:sp>
          <p:nvSpPr>
            <p:cNvPr id="11" name="Text Placeholder 5">
              <a:extLst>
                <a:ext uri="{FF2B5EF4-FFF2-40B4-BE49-F238E27FC236}">
                  <a16:creationId xmlns:a16="http://schemas.microsoft.com/office/drawing/2014/main" id="{ED325DDC-B122-6262-3E77-CBA0A99230E4}"/>
                </a:ext>
              </a:extLst>
            </p:cNvPr>
            <p:cNvSpPr txBox="1">
              <a:spLocks/>
            </p:cNvSpPr>
            <p:nvPr/>
          </p:nvSpPr>
          <p:spPr>
            <a:xfrm>
              <a:off x="7903862" y="2903131"/>
              <a:ext cx="3733400" cy="66643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GB" sz="1200" dirty="0"/>
                <a:t>View demo</a:t>
              </a:r>
              <a:br>
                <a:rPr lang="en-GB" sz="1200" dirty="0"/>
              </a:br>
              <a:r>
                <a:rPr lang="en-GB" sz="1050" b="0" dirty="0"/>
                <a:t>Interact with pipeline visualisation and experiment tracking with Kedro-Viz. </a:t>
              </a:r>
              <a:br>
                <a:rPr lang="en-GB" sz="1050" b="0" dirty="0"/>
              </a:br>
              <a:r>
                <a:rPr lang="en-GB" sz="1050" u="sng" dirty="0" err="1"/>
                <a:t>demo.kedro.org</a:t>
              </a:r>
              <a:endParaRPr lang="en-US" sz="1050" u="sng" kern="0" dirty="0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18257CA-1059-6A97-EFEE-34BA68A6E0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b="9369"/>
            <a:stretch/>
          </p:blipFill>
          <p:spPr>
            <a:xfrm flipV="1">
              <a:off x="6976408" y="2972027"/>
              <a:ext cx="735330" cy="666434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9C2A8D7-DD4F-5B0C-CD0D-1517D89E07A5}"/>
              </a:ext>
            </a:extLst>
          </p:cNvPr>
          <p:cNvGrpSpPr/>
          <p:nvPr/>
        </p:nvGrpSpPr>
        <p:grpSpPr>
          <a:xfrm>
            <a:off x="6976406" y="4010594"/>
            <a:ext cx="4660856" cy="735330"/>
            <a:chOff x="6976406" y="3763660"/>
            <a:chExt cx="4660856" cy="735330"/>
          </a:xfrm>
        </p:grpSpPr>
        <p:sp>
          <p:nvSpPr>
            <p:cNvPr id="10" name="Text Placeholder 8">
              <a:extLst>
                <a:ext uri="{FF2B5EF4-FFF2-40B4-BE49-F238E27FC236}">
                  <a16:creationId xmlns:a16="http://schemas.microsoft.com/office/drawing/2014/main" id="{44C1E439-9A53-2687-2069-79B6CE214D0E}"/>
                </a:ext>
              </a:extLst>
            </p:cNvPr>
            <p:cNvSpPr txBox="1">
              <a:spLocks/>
            </p:cNvSpPr>
            <p:nvPr/>
          </p:nvSpPr>
          <p:spPr>
            <a:xfrm>
              <a:off x="7903860" y="3763660"/>
              <a:ext cx="3733402" cy="66941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200" kern="0" dirty="0"/>
                <a:t>Learn Kedro</a:t>
              </a:r>
              <a:br>
                <a:rPr lang="en-US" sz="1200" kern="0" dirty="0"/>
              </a:br>
              <a:r>
                <a:rPr lang="en-GB" sz="1050" b="0" dirty="0"/>
                <a:t>Walk through our spaceflights tutorial and get up to speed on beginner-to-intermediate functionality. </a:t>
              </a:r>
              <a:br>
                <a:rPr lang="en-GB" sz="1050" b="0" dirty="0"/>
              </a:br>
              <a:r>
                <a:rPr lang="en-GB" sz="1050" u="sng" dirty="0" err="1"/>
                <a:t>docs.kedro.org</a:t>
              </a:r>
              <a:endParaRPr lang="en-US" sz="1050" u="sng" kern="0" dirty="0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D435E36-C941-57CD-2E87-784961AC9A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t="8107"/>
            <a:stretch/>
          </p:blipFill>
          <p:spPr>
            <a:xfrm>
              <a:off x="6976406" y="3763660"/>
              <a:ext cx="800201" cy="735330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5B6180E-4CD0-ACA4-7B8F-E1640A34575D}"/>
              </a:ext>
            </a:extLst>
          </p:cNvPr>
          <p:cNvGrpSpPr/>
          <p:nvPr/>
        </p:nvGrpSpPr>
        <p:grpSpPr>
          <a:xfrm>
            <a:off x="6976406" y="4996495"/>
            <a:ext cx="4660857" cy="735330"/>
            <a:chOff x="6976406" y="5706435"/>
            <a:chExt cx="4660857" cy="735330"/>
          </a:xfrm>
        </p:grpSpPr>
        <p:sp>
          <p:nvSpPr>
            <p:cNvPr id="26" name="Text Placeholder 8">
              <a:extLst>
                <a:ext uri="{FF2B5EF4-FFF2-40B4-BE49-F238E27FC236}">
                  <a16:creationId xmlns:a16="http://schemas.microsoft.com/office/drawing/2014/main" id="{1CD2AE23-D8CB-4618-57AA-63CA83CD5A8C}"/>
                </a:ext>
              </a:extLst>
            </p:cNvPr>
            <p:cNvSpPr txBox="1">
              <a:spLocks/>
            </p:cNvSpPr>
            <p:nvPr/>
          </p:nvSpPr>
          <p:spPr>
            <a:xfrm>
              <a:off x="7903861" y="5706435"/>
              <a:ext cx="3733402" cy="66941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16" indent="0" algn="l" defTabSz="1193860" rtl="0" eaLnBrk="1" fontAlgn="base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="0" baseline="0">
                  <a:solidFill>
                    <a:schemeClr val="accent6"/>
                  </a:solidFill>
                  <a:latin typeface="+mn-lt"/>
                </a:defRPr>
              </a:lvl2pPr>
              <a:lvl3pPr marL="168275" indent="-168275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350838" indent="-182563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579438" indent="-228600" algn="l" defTabSz="1193860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200" kern="0" dirty="0"/>
                <a:t>Join the community</a:t>
              </a:r>
              <a:br>
                <a:rPr lang="en-US" sz="1200" kern="0" dirty="0"/>
              </a:br>
              <a:r>
                <a:rPr lang="en-GB" sz="1050" b="0" dirty="0"/>
                <a:t>Join a friendly and growing community of </a:t>
              </a:r>
              <a:r>
                <a:rPr lang="en-GB" sz="1050" b="0" dirty="0" err="1"/>
                <a:t>Kedroids</a:t>
              </a:r>
              <a:r>
                <a:rPr lang="en-GB" sz="1050" b="0" dirty="0"/>
                <a:t> waiting for your questions.</a:t>
              </a:r>
              <a:br>
                <a:rPr lang="en-GB" sz="1050" b="0" dirty="0"/>
              </a:br>
              <a:r>
                <a:rPr lang="en-GB" sz="1050" u="sng" dirty="0" err="1"/>
                <a:t>slack.kedro.org</a:t>
              </a:r>
              <a:endParaRPr lang="en-US" sz="1050" u="sng" kern="0" dirty="0"/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775BEEEC-2488-AB8E-FDEB-1F5D974E0A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8107"/>
            <a:stretch/>
          </p:blipFill>
          <p:spPr>
            <a:xfrm>
              <a:off x="6976406" y="5706435"/>
              <a:ext cx="800201" cy="735330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A2EC8DC0-EE82-AD88-02B4-41597A69102E}"/>
              </a:ext>
            </a:extLst>
          </p:cNvPr>
          <p:cNvSpPr txBox="1"/>
          <p:nvPr/>
        </p:nvSpPr>
        <p:spPr>
          <a:xfrm>
            <a:off x="6976406" y="1507691"/>
            <a:ext cx="460174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 fontAlgn="base"/>
            <a:r>
              <a:rPr lang="en-GB" sz="1100" b="0" i="0" dirty="0">
                <a:effectLst/>
              </a:rPr>
              <a:t>There are many resources to get started using Kedro; here is a list of resources you can access.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70089E3-A10B-F455-371E-83C00115471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0" y="1536068"/>
            <a:ext cx="4086997" cy="4086997"/>
          </a:xfrm>
          <a:prstGeom prst="rect">
            <a:avLst/>
          </a:prstGeom>
        </p:spPr>
      </p:pic>
      <p:pic>
        <p:nvPicPr>
          <p:cNvPr id="8" name="Picture Placeholder 9">
            <a:extLst>
              <a:ext uri="{FF2B5EF4-FFF2-40B4-BE49-F238E27FC236}">
                <a16:creationId xmlns:a16="http://schemas.microsoft.com/office/drawing/2014/main" id="{6FD6DF7A-F950-17D3-5D5F-74CCEA9D1BC2}"/>
              </a:ext>
            </a:extLst>
          </p:cNvPr>
          <p:cNvPicPr>
            <a:picLocks noChangeAspect="1"/>
          </p:cNvPicPr>
          <p:nvPr/>
        </p:nvPicPr>
        <p:blipFill>
          <a:blip r:embed="rId17">
            <a:lum bright="100000" contrast="-100000"/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pic>
        <p:nvPicPr>
          <p:cNvPr id="14" name="Picture Placeholder 9">
            <a:extLst>
              <a:ext uri="{FF2B5EF4-FFF2-40B4-BE49-F238E27FC236}">
                <a16:creationId xmlns:a16="http://schemas.microsoft.com/office/drawing/2014/main" id="{A39FA120-7126-A31D-77C9-A1FEC1BF698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l="413" r="413"/>
          <a:stretch>
            <a:fillRect/>
          </a:stretch>
        </p:blipFill>
        <p:spPr>
          <a:xfrm>
            <a:off x="565542" y="6149684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693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BAC5A10-1E2B-3BF4-6A2E-D5830CB3CC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AC5A10-1E2B-3BF4-6A2E-D5830CB3C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CE9ED7D-A1BF-6D3A-A8DA-3B446CB5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9601" y="3180276"/>
            <a:ext cx="5392799" cy="486608"/>
          </a:xfrm>
        </p:spPr>
        <p:txBody>
          <a:bodyPr vert="horz"/>
          <a:lstStyle/>
          <a:p>
            <a:r>
              <a:rPr lang="en-US" dirty="0"/>
              <a:t>Q&amp;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9C45C4F-02E3-3F7C-DE1E-844FCD439E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DFA52E-ADE0-557C-F740-DE8F4ED126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Placeholder 9">
            <a:extLst>
              <a:ext uri="{FF2B5EF4-FFF2-40B4-BE49-F238E27FC236}">
                <a16:creationId xmlns:a16="http://schemas.microsoft.com/office/drawing/2014/main" id="{19357B23-1470-56B1-202F-01C1881BA0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1984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5E1EC9-1F84-81D1-29D3-ECDE317580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3" name="Picture Placeholder 9">
            <a:extLst>
              <a:ext uri="{FF2B5EF4-FFF2-40B4-BE49-F238E27FC236}">
                <a16:creationId xmlns:a16="http://schemas.microsoft.com/office/drawing/2014/main" id="{ABB455BB-3AB6-8BE2-8922-1E20D32D2E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65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D2132-5374-CB13-257E-9186EDD5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E79C9BA-8751-DAE1-838F-87346D836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E79C9BA-8751-DAE1-838F-87346D836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8190BC3F-9493-0218-6EAE-A8105DD7C0C4}"/>
              </a:ext>
            </a:extLst>
          </p:cNvPr>
          <p:cNvGrpSpPr/>
          <p:nvPr/>
        </p:nvGrpSpPr>
        <p:grpSpPr>
          <a:xfrm>
            <a:off x="0" y="0"/>
            <a:ext cx="4632494" cy="4082285"/>
            <a:chOff x="0" y="0"/>
            <a:chExt cx="4632494" cy="4082285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EC331FE-23D8-1CCD-D16B-96911A8FD845}"/>
                </a:ext>
              </a:extLst>
            </p:cNvPr>
            <p:cNvSpPr/>
            <p:nvPr/>
          </p:nvSpPr>
          <p:spPr>
            <a:xfrm rot="13500000">
              <a:off x="504814" y="449212"/>
              <a:ext cx="2166972" cy="2166971"/>
            </a:xfrm>
            <a:custGeom>
              <a:avLst/>
              <a:gdLst>
                <a:gd name="connsiteX0" fmla="*/ 1363258 w 1363257"/>
                <a:gd name="connsiteY0" fmla="*/ 0 h 1363256"/>
                <a:gd name="connsiteX1" fmla="*/ 0 w 1363257"/>
                <a:gd name="connsiteY1" fmla="*/ 0 h 1363256"/>
                <a:gd name="connsiteX2" fmla="*/ 0 w 1363257"/>
                <a:gd name="connsiteY2" fmla="*/ 1363257 h 1363256"/>
                <a:gd name="connsiteX3" fmla="*/ 1363258 w 1363257"/>
                <a:gd name="connsiteY3" fmla="*/ 1363257 h 1363256"/>
                <a:gd name="connsiteX4" fmla="*/ 1363258 w 1363257"/>
                <a:gd name="connsiteY4" fmla="*/ 0 h 1363256"/>
                <a:gd name="connsiteX5" fmla="*/ 1011675 w 1363257"/>
                <a:gd name="connsiteY5" fmla="*/ 705076 h 1363256"/>
                <a:gd name="connsiteX6" fmla="*/ 827410 w 1363257"/>
                <a:gd name="connsiteY6" fmla="*/ 887175 h 1363256"/>
                <a:gd name="connsiteX7" fmla="*/ 692461 w 1363257"/>
                <a:gd name="connsiteY7" fmla="*/ 1022379 h 1363256"/>
                <a:gd name="connsiteX8" fmla="*/ 670925 w 1363257"/>
                <a:gd name="connsiteY8" fmla="*/ 1022889 h 1363256"/>
                <a:gd name="connsiteX9" fmla="*/ 588987 w 1363257"/>
                <a:gd name="connsiteY9" fmla="*/ 940696 h 1363256"/>
                <a:gd name="connsiteX10" fmla="*/ 529859 w 1363257"/>
                <a:gd name="connsiteY10" fmla="*/ 883479 h 1363256"/>
                <a:gd name="connsiteX11" fmla="*/ 472387 w 1363257"/>
                <a:gd name="connsiteY11" fmla="*/ 824606 h 1363256"/>
                <a:gd name="connsiteX12" fmla="*/ 413769 w 1363257"/>
                <a:gd name="connsiteY12" fmla="*/ 766880 h 1363256"/>
                <a:gd name="connsiteX13" fmla="*/ 349034 w 1363257"/>
                <a:gd name="connsiteY13" fmla="*/ 700616 h 1363256"/>
                <a:gd name="connsiteX14" fmla="*/ 352602 w 1363257"/>
                <a:gd name="connsiteY14" fmla="*/ 682266 h 1363256"/>
                <a:gd name="connsiteX15" fmla="*/ 501696 w 1363257"/>
                <a:gd name="connsiteY15" fmla="*/ 534063 h 1363256"/>
                <a:gd name="connsiteX16" fmla="*/ 670160 w 1363257"/>
                <a:gd name="connsiteY16" fmla="*/ 365345 h 1363256"/>
                <a:gd name="connsiteX17" fmla="*/ 692715 w 1363257"/>
                <a:gd name="connsiteY17" fmla="*/ 364962 h 1363256"/>
                <a:gd name="connsiteX18" fmla="*/ 762293 w 1363257"/>
                <a:gd name="connsiteY18" fmla="*/ 434667 h 1363256"/>
                <a:gd name="connsiteX19" fmla="*/ 821421 w 1363257"/>
                <a:gd name="connsiteY19" fmla="*/ 491884 h 1363256"/>
                <a:gd name="connsiteX20" fmla="*/ 878892 w 1363257"/>
                <a:gd name="connsiteY20" fmla="*/ 550757 h 1363256"/>
                <a:gd name="connsiteX21" fmla="*/ 937511 w 1363257"/>
                <a:gd name="connsiteY21" fmla="*/ 608483 h 1363256"/>
                <a:gd name="connsiteX22" fmla="*/ 994855 w 1363257"/>
                <a:gd name="connsiteY22" fmla="*/ 665572 h 1363256"/>
                <a:gd name="connsiteX23" fmla="*/ 1010529 w 1363257"/>
                <a:gd name="connsiteY23" fmla="*/ 680991 h 1363256"/>
                <a:gd name="connsiteX24" fmla="*/ 1020468 w 1363257"/>
                <a:gd name="connsiteY24" fmla="*/ 692333 h 1363256"/>
                <a:gd name="connsiteX25" fmla="*/ 1011803 w 1363257"/>
                <a:gd name="connsiteY25" fmla="*/ 705331 h 136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63257" h="1363256">
                  <a:moveTo>
                    <a:pt x="1363258" y="0"/>
                  </a:moveTo>
                  <a:lnTo>
                    <a:pt x="0" y="0"/>
                  </a:lnTo>
                  <a:lnTo>
                    <a:pt x="0" y="1363257"/>
                  </a:lnTo>
                  <a:lnTo>
                    <a:pt x="1363258" y="1363257"/>
                  </a:lnTo>
                  <a:cubicBezTo>
                    <a:pt x="1363258" y="1145095"/>
                    <a:pt x="1363258" y="221348"/>
                    <a:pt x="1363258" y="0"/>
                  </a:cubicBezTo>
                  <a:close/>
                  <a:moveTo>
                    <a:pt x="1011675" y="705076"/>
                  </a:moveTo>
                  <a:cubicBezTo>
                    <a:pt x="950381" y="765860"/>
                    <a:pt x="888704" y="826390"/>
                    <a:pt x="827410" y="887175"/>
                  </a:cubicBezTo>
                  <a:cubicBezTo>
                    <a:pt x="782172" y="932030"/>
                    <a:pt x="737189" y="977013"/>
                    <a:pt x="692461" y="1022379"/>
                  </a:cubicBezTo>
                  <a:cubicBezTo>
                    <a:pt x="684432" y="1030535"/>
                    <a:pt x="679208" y="1031427"/>
                    <a:pt x="670925" y="1022889"/>
                  </a:cubicBezTo>
                  <a:cubicBezTo>
                    <a:pt x="644037" y="995109"/>
                    <a:pt x="616512" y="967838"/>
                    <a:pt x="588987" y="940696"/>
                  </a:cubicBezTo>
                  <a:cubicBezTo>
                    <a:pt x="569490" y="921454"/>
                    <a:pt x="549228" y="902849"/>
                    <a:pt x="529859" y="883479"/>
                  </a:cubicBezTo>
                  <a:cubicBezTo>
                    <a:pt x="510489" y="864110"/>
                    <a:pt x="491757" y="843976"/>
                    <a:pt x="472387" y="824606"/>
                  </a:cubicBezTo>
                  <a:cubicBezTo>
                    <a:pt x="453018" y="805109"/>
                    <a:pt x="433138" y="786377"/>
                    <a:pt x="413769" y="766880"/>
                  </a:cubicBezTo>
                  <a:cubicBezTo>
                    <a:pt x="391978" y="744962"/>
                    <a:pt x="370824" y="722534"/>
                    <a:pt x="349034" y="700616"/>
                  </a:cubicBezTo>
                  <a:cubicBezTo>
                    <a:pt x="340878" y="692333"/>
                    <a:pt x="347505" y="687363"/>
                    <a:pt x="352602" y="682266"/>
                  </a:cubicBezTo>
                  <a:cubicBezTo>
                    <a:pt x="402300" y="632822"/>
                    <a:pt x="452126" y="583507"/>
                    <a:pt x="501696" y="534063"/>
                  </a:cubicBezTo>
                  <a:cubicBezTo>
                    <a:pt x="558021" y="477994"/>
                    <a:pt x="614218" y="421797"/>
                    <a:pt x="670160" y="365345"/>
                  </a:cubicBezTo>
                  <a:cubicBezTo>
                    <a:pt x="678571" y="356807"/>
                    <a:pt x="684050" y="355915"/>
                    <a:pt x="692715" y="364962"/>
                  </a:cubicBezTo>
                  <a:cubicBezTo>
                    <a:pt x="715398" y="388665"/>
                    <a:pt x="738845" y="411602"/>
                    <a:pt x="762293" y="434667"/>
                  </a:cubicBezTo>
                  <a:cubicBezTo>
                    <a:pt x="781790" y="453909"/>
                    <a:pt x="802051" y="472514"/>
                    <a:pt x="821421" y="491884"/>
                  </a:cubicBezTo>
                  <a:cubicBezTo>
                    <a:pt x="840790" y="511253"/>
                    <a:pt x="859523" y="531387"/>
                    <a:pt x="878892" y="550757"/>
                  </a:cubicBezTo>
                  <a:cubicBezTo>
                    <a:pt x="898262" y="570254"/>
                    <a:pt x="918014" y="589241"/>
                    <a:pt x="937511" y="608483"/>
                  </a:cubicBezTo>
                  <a:cubicBezTo>
                    <a:pt x="956625" y="627470"/>
                    <a:pt x="975740" y="646457"/>
                    <a:pt x="994855" y="665572"/>
                  </a:cubicBezTo>
                  <a:cubicBezTo>
                    <a:pt x="1000079" y="670797"/>
                    <a:pt x="1005431" y="675767"/>
                    <a:pt x="1010529" y="680991"/>
                  </a:cubicBezTo>
                  <a:cubicBezTo>
                    <a:pt x="1013842" y="684432"/>
                    <a:pt x="1016773" y="688127"/>
                    <a:pt x="1020468" y="692333"/>
                  </a:cubicBezTo>
                  <a:cubicBezTo>
                    <a:pt x="1017155" y="697430"/>
                    <a:pt x="1015116" y="702017"/>
                    <a:pt x="1011803" y="7053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CFCF7B6-3FA7-3D0B-DF90-A460CDED3C92}"/>
                </a:ext>
              </a:extLst>
            </p:cNvPr>
            <p:cNvSpPr/>
            <p:nvPr/>
          </p:nvSpPr>
          <p:spPr>
            <a:xfrm>
              <a:off x="0" y="2095293"/>
              <a:ext cx="1139476" cy="1986992"/>
            </a:xfrm>
            <a:custGeom>
              <a:avLst/>
              <a:gdLst>
                <a:gd name="connsiteX0" fmla="*/ 145980 w 1139476"/>
                <a:gd name="connsiteY0" fmla="*/ 0 h 1986992"/>
                <a:gd name="connsiteX1" fmla="*/ 1139476 w 1139476"/>
                <a:gd name="connsiteY1" fmla="*/ 993496 h 1986992"/>
                <a:gd name="connsiteX2" fmla="*/ 145980 w 1139476"/>
                <a:gd name="connsiteY2" fmla="*/ 1986992 h 1986992"/>
                <a:gd name="connsiteX3" fmla="*/ 44401 w 1139476"/>
                <a:gd name="connsiteY3" fmla="*/ 1981863 h 1986992"/>
                <a:gd name="connsiteX4" fmla="*/ 0 w 1139476"/>
                <a:gd name="connsiteY4" fmla="*/ 1975087 h 1986992"/>
                <a:gd name="connsiteX5" fmla="*/ 0 w 1139476"/>
                <a:gd name="connsiteY5" fmla="*/ 11906 h 1986992"/>
                <a:gd name="connsiteX6" fmla="*/ 44401 w 1139476"/>
                <a:gd name="connsiteY6" fmla="*/ 5129 h 1986992"/>
                <a:gd name="connsiteX7" fmla="*/ 145980 w 1139476"/>
                <a:gd name="connsiteY7" fmla="*/ 0 h 198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476" h="1986992">
                  <a:moveTo>
                    <a:pt x="145980" y="0"/>
                  </a:moveTo>
                  <a:cubicBezTo>
                    <a:pt x="694673" y="0"/>
                    <a:pt x="1139476" y="444803"/>
                    <a:pt x="1139476" y="993496"/>
                  </a:cubicBezTo>
                  <a:cubicBezTo>
                    <a:pt x="1139476" y="1542189"/>
                    <a:pt x="694673" y="1986992"/>
                    <a:pt x="145980" y="1986992"/>
                  </a:cubicBezTo>
                  <a:cubicBezTo>
                    <a:pt x="111687" y="1986992"/>
                    <a:pt x="77799" y="1985255"/>
                    <a:pt x="44401" y="1981863"/>
                  </a:cubicBezTo>
                  <a:lnTo>
                    <a:pt x="0" y="1975087"/>
                  </a:lnTo>
                  <a:lnTo>
                    <a:pt x="0" y="11906"/>
                  </a:lnTo>
                  <a:lnTo>
                    <a:pt x="44401" y="5129"/>
                  </a:lnTo>
                  <a:cubicBezTo>
                    <a:pt x="77799" y="1738"/>
                    <a:pt x="111687" y="0"/>
                    <a:pt x="1459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9D2EA7A-34EF-2A7A-E1F6-60054CC989F1}"/>
                </a:ext>
              </a:extLst>
            </p:cNvPr>
            <p:cNvGrpSpPr/>
            <p:nvPr/>
          </p:nvGrpSpPr>
          <p:grpSpPr>
            <a:xfrm>
              <a:off x="1678943" y="1"/>
              <a:ext cx="2953551" cy="1483312"/>
              <a:chOff x="1678943" y="1"/>
              <a:chExt cx="2953551" cy="1483312"/>
            </a:xfrm>
            <a:solidFill>
              <a:schemeClr val="accent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EDC2CEB-199C-89F5-5144-A3D7344552E6}"/>
                  </a:ext>
                </a:extLst>
              </p:cNvPr>
              <p:cNvSpPr/>
              <p:nvPr/>
            </p:nvSpPr>
            <p:spPr>
              <a:xfrm>
                <a:off x="1678943" y="2"/>
                <a:ext cx="344955" cy="179013"/>
              </a:xfrm>
              <a:custGeom>
                <a:avLst/>
                <a:gdLst>
                  <a:gd name="connsiteX0" fmla="*/ 13070 w 344955"/>
                  <a:gd name="connsiteY0" fmla="*/ 0 h 179013"/>
                  <a:gd name="connsiteX1" fmla="*/ 344955 w 344955"/>
                  <a:gd name="connsiteY1" fmla="*/ 0 h 179013"/>
                  <a:gd name="connsiteX2" fmla="*/ 165942 w 344955"/>
                  <a:gd name="connsiteY2" fmla="*/ 179013 h 179013"/>
                  <a:gd name="connsiteX3" fmla="*/ 0 w 344955"/>
                  <a:gd name="connsiteY3" fmla="*/ 13070 h 179013"/>
                  <a:gd name="connsiteX4" fmla="*/ 13070 w 344955"/>
                  <a:gd name="connsiteY4" fmla="*/ 0 h 17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955" h="179013">
                    <a:moveTo>
                      <a:pt x="13070" y="0"/>
                    </a:moveTo>
                    <a:lnTo>
                      <a:pt x="344955" y="0"/>
                    </a:lnTo>
                    <a:lnTo>
                      <a:pt x="165942" y="179013"/>
                    </a:lnTo>
                    <a:lnTo>
                      <a:pt x="0" y="13070"/>
                    </a:lnTo>
                    <a:lnTo>
                      <a:pt x="1307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lumOff val="1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94A3740C-71EC-6540-B5E5-7ABC6BAEDEE2}"/>
                  </a:ext>
                </a:extLst>
              </p:cNvPr>
              <p:cNvSpPr/>
              <p:nvPr/>
            </p:nvSpPr>
            <p:spPr>
              <a:xfrm>
                <a:off x="2004996" y="1"/>
                <a:ext cx="671008" cy="505066"/>
              </a:xfrm>
              <a:custGeom>
                <a:avLst/>
                <a:gdLst>
                  <a:gd name="connsiteX0" fmla="*/ 339123 w 671008"/>
                  <a:gd name="connsiteY0" fmla="*/ 0 h 505066"/>
                  <a:gd name="connsiteX1" fmla="*/ 671008 w 671008"/>
                  <a:gd name="connsiteY1" fmla="*/ 0 h 505066"/>
                  <a:gd name="connsiteX2" fmla="*/ 165942 w 671008"/>
                  <a:gd name="connsiteY2" fmla="*/ 505066 h 505066"/>
                  <a:gd name="connsiteX3" fmla="*/ 0 w 671008"/>
                  <a:gd name="connsiteY3" fmla="*/ 339123 h 505066"/>
                  <a:gd name="connsiteX4" fmla="*/ 339123 w 671008"/>
                  <a:gd name="connsiteY4" fmla="*/ 0 h 50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008" h="505066">
                    <a:moveTo>
                      <a:pt x="339123" y="0"/>
                    </a:moveTo>
                    <a:lnTo>
                      <a:pt x="671008" y="0"/>
                    </a:lnTo>
                    <a:lnTo>
                      <a:pt x="165942" y="505066"/>
                    </a:lnTo>
                    <a:lnTo>
                      <a:pt x="0" y="339123"/>
                    </a:lnTo>
                    <a:lnTo>
                      <a:pt x="33912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6E93E653-1DC6-A9C0-ABE1-07AF7C5C8D53}"/>
                  </a:ext>
                </a:extLst>
              </p:cNvPr>
              <p:cNvSpPr/>
              <p:nvPr/>
            </p:nvSpPr>
            <p:spPr>
              <a:xfrm>
                <a:off x="2331049" y="2"/>
                <a:ext cx="997061" cy="831119"/>
              </a:xfrm>
              <a:custGeom>
                <a:avLst/>
                <a:gdLst>
                  <a:gd name="connsiteX0" fmla="*/ 665176 w 997061"/>
                  <a:gd name="connsiteY0" fmla="*/ 0 h 831119"/>
                  <a:gd name="connsiteX1" fmla="*/ 997061 w 997061"/>
                  <a:gd name="connsiteY1" fmla="*/ 0 h 831119"/>
                  <a:gd name="connsiteX2" fmla="*/ 165942 w 997061"/>
                  <a:gd name="connsiteY2" fmla="*/ 831119 h 831119"/>
                  <a:gd name="connsiteX3" fmla="*/ 0 w 997061"/>
                  <a:gd name="connsiteY3" fmla="*/ 665176 h 831119"/>
                  <a:gd name="connsiteX4" fmla="*/ 665176 w 997061"/>
                  <a:gd name="connsiteY4" fmla="*/ 0 h 83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7061" h="831119">
                    <a:moveTo>
                      <a:pt x="665176" y="0"/>
                    </a:moveTo>
                    <a:lnTo>
                      <a:pt x="997061" y="0"/>
                    </a:lnTo>
                    <a:lnTo>
                      <a:pt x="165942" y="831119"/>
                    </a:lnTo>
                    <a:lnTo>
                      <a:pt x="0" y="665176"/>
                    </a:lnTo>
                    <a:lnTo>
                      <a:pt x="66517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DE22EB6B-8CD4-E5E7-941E-8BEAAC715829}"/>
                  </a:ext>
                </a:extLst>
              </p:cNvPr>
              <p:cNvSpPr/>
              <p:nvPr/>
            </p:nvSpPr>
            <p:spPr>
              <a:xfrm>
                <a:off x="2657187" y="2"/>
                <a:ext cx="1323199" cy="1157257"/>
              </a:xfrm>
              <a:custGeom>
                <a:avLst/>
                <a:gdLst>
                  <a:gd name="connsiteX0" fmla="*/ 991314 w 1323199"/>
                  <a:gd name="connsiteY0" fmla="*/ 0 h 1157257"/>
                  <a:gd name="connsiteX1" fmla="*/ 1323199 w 1323199"/>
                  <a:gd name="connsiteY1" fmla="*/ 0 h 1157257"/>
                  <a:gd name="connsiteX2" fmla="*/ 165942 w 1323199"/>
                  <a:gd name="connsiteY2" fmla="*/ 1157257 h 1157257"/>
                  <a:gd name="connsiteX3" fmla="*/ 0 w 1323199"/>
                  <a:gd name="connsiteY3" fmla="*/ 991314 h 1157257"/>
                  <a:gd name="connsiteX4" fmla="*/ 991314 w 1323199"/>
                  <a:gd name="connsiteY4" fmla="*/ 0 h 115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199" h="1157257">
                    <a:moveTo>
                      <a:pt x="991314" y="0"/>
                    </a:moveTo>
                    <a:lnTo>
                      <a:pt x="1323199" y="0"/>
                    </a:lnTo>
                    <a:lnTo>
                      <a:pt x="165942" y="1157257"/>
                    </a:lnTo>
                    <a:lnTo>
                      <a:pt x="0" y="991314"/>
                    </a:lnTo>
                    <a:lnTo>
                      <a:pt x="99131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529043D-BA92-9BE5-4CB5-A886D910EE6C}"/>
                  </a:ext>
                </a:extLst>
              </p:cNvPr>
              <p:cNvSpPr/>
              <p:nvPr/>
            </p:nvSpPr>
            <p:spPr>
              <a:xfrm>
                <a:off x="2983241" y="2"/>
                <a:ext cx="1649253" cy="1483311"/>
              </a:xfrm>
              <a:custGeom>
                <a:avLst/>
                <a:gdLst>
                  <a:gd name="connsiteX0" fmla="*/ 1317368 w 1649253"/>
                  <a:gd name="connsiteY0" fmla="*/ 0 h 1483311"/>
                  <a:gd name="connsiteX1" fmla="*/ 1649253 w 1649253"/>
                  <a:gd name="connsiteY1" fmla="*/ 0 h 1483311"/>
                  <a:gd name="connsiteX2" fmla="*/ 165942 w 1649253"/>
                  <a:gd name="connsiteY2" fmla="*/ 1483311 h 1483311"/>
                  <a:gd name="connsiteX3" fmla="*/ 0 w 1649253"/>
                  <a:gd name="connsiteY3" fmla="*/ 1317368 h 1483311"/>
                  <a:gd name="connsiteX4" fmla="*/ 1317368 w 1649253"/>
                  <a:gd name="connsiteY4" fmla="*/ 0 h 1483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9253" h="1483311">
                    <a:moveTo>
                      <a:pt x="1317368" y="0"/>
                    </a:moveTo>
                    <a:lnTo>
                      <a:pt x="1649253" y="0"/>
                    </a:lnTo>
                    <a:lnTo>
                      <a:pt x="165942" y="1483311"/>
                    </a:lnTo>
                    <a:lnTo>
                      <a:pt x="0" y="1317368"/>
                    </a:lnTo>
                    <a:lnTo>
                      <a:pt x="13173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1D48587-9005-5BCE-0C87-97BC24BB3E82}"/>
                </a:ext>
              </a:extLst>
            </p:cNvPr>
            <p:cNvSpPr/>
            <p:nvPr/>
          </p:nvSpPr>
          <p:spPr>
            <a:xfrm>
              <a:off x="0" y="0"/>
              <a:ext cx="1138380" cy="971782"/>
            </a:xfrm>
            <a:custGeom>
              <a:avLst/>
              <a:gdLst>
                <a:gd name="connsiteX0" fmla="*/ 0 w 1138380"/>
                <a:gd name="connsiteY0" fmla="*/ 0 h 971782"/>
                <a:gd name="connsiteX1" fmla="*/ 1138380 w 1138380"/>
                <a:gd name="connsiteY1" fmla="*/ 0 h 971782"/>
                <a:gd name="connsiteX2" fmla="*/ 1134347 w 1138380"/>
                <a:gd name="connsiteY2" fmla="*/ 79865 h 971782"/>
                <a:gd name="connsiteX3" fmla="*/ 145980 w 1138380"/>
                <a:gd name="connsiteY3" fmla="*/ 971782 h 971782"/>
                <a:gd name="connsiteX4" fmla="*/ 44401 w 1138380"/>
                <a:gd name="connsiteY4" fmla="*/ 966653 h 971782"/>
                <a:gd name="connsiteX5" fmla="*/ 0 w 1138380"/>
                <a:gd name="connsiteY5" fmla="*/ 959877 h 971782"/>
                <a:gd name="connsiteX6" fmla="*/ 0 w 1138380"/>
                <a:gd name="connsiteY6" fmla="*/ 0 h 97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380" h="971782">
                  <a:moveTo>
                    <a:pt x="0" y="0"/>
                  </a:moveTo>
                  <a:lnTo>
                    <a:pt x="1138380" y="0"/>
                  </a:lnTo>
                  <a:lnTo>
                    <a:pt x="1134347" y="79865"/>
                  </a:lnTo>
                  <a:cubicBezTo>
                    <a:pt x="1083470" y="580842"/>
                    <a:pt x="660380" y="971782"/>
                    <a:pt x="145980" y="971782"/>
                  </a:cubicBezTo>
                  <a:cubicBezTo>
                    <a:pt x="111687" y="971782"/>
                    <a:pt x="77799" y="970045"/>
                    <a:pt x="44401" y="966653"/>
                  </a:cubicBezTo>
                  <a:lnTo>
                    <a:pt x="0" y="959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90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4BF5E8B9-03B5-ABA8-81A8-653C9AD07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01</a:t>
            </a:r>
          </a:p>
        </p:txBody>
      </p:sp>
      <p:pic>
        <p:nvPicPr>
          <p:cNvPr id="16" name="Picture Placeholder 9">
            <a:extLst>
              <a:ext uri="{FF2B5EF4-FFF2-40B4-BE49-F238E27FC236}">
                <a16:creationId xmlns:a16="http://schemas.microsoft.com/office/drawing/2014/main" id="{0F9BA62A-C7BC-340F-AD4A-310852E058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C42D59B-B9CA-3D9D-0DA4-E50E31438AED}"/>
              </a:ext>
            </a:extLst>
          </p:cNvPr>
          <p:cNvSpPr txBox="1"/>
          <p:nvPr/>
        </p:nvSpPr>
        <p:spPr>
          <a:xfrm>
            <a:off x="4674079" y="3076757"/>
            <a:ext cx="6346166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1800" kern="100" dirty="0"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Common challenges for data practitioners</a:t>
            </a:r>
          </a:p>
        </p:txBody>
      </p:sp>
    </p:spTree>
    <p:extLst>
      <p:ext uri="{BB962C8B-B14F-4D97-AF65-F5344CB8AC3E}">
        <p14:creationId xmlns:p14="http://schemas.microsoft.com/office/powerpoint/2010/main" val="2587769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07B3F0D6-A481-8779-BA6A-2AAC2B37F4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07B3F0D6-A481-8779-BA6A-2AAC2B37F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57B9515-2FE9-6F02-AC92-8CDC65006050}"/>
              </a:ext>
            </a:extLst>
          </p:cNvPr>
          <p:cNvSpPr txBox="1"/>
          <p:nvPr/>
        </p:nvSpPr>
        <p:spPr>
          <a:xfrm>
            <a:off x="1247615" y="2252425"/>
            <a:ext cx="9696770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4800" dirty="0">
                <a:latin typeface="+mj-lt"/>
              </a:rPr>
              <a:t>We </a:t>
            </a:r>
            <a:r>
              <a:rPr lang="en-US" sz="4800" dirty="0">
                <a:solidFill>
                  <a:schemeClr val="accent1"/>
                </a:solidFill>
                <a:latin typeface="+mj-lt"/>
              </a:rPr>
              <a:t>under-engineer</a:t>
            </a:r>
            <a:r>
              <a:rPr lang="en-US" sz="4800" dirty="0">
                <a:latin typeface="+mj-lt"/>
              </a:rPr>
              <a:t> data science experiments &amp; create code with a lot of </a:t>
            </a:r>
            <a:r>
              <a:rPr lang="en-US" sz="4800" dirty="0">
                <a:solidFill>
                  <a:schemeClr val="accent1"/>
                </a:solidFill>
                <a:latin typeface="+mj-lt"/>
              </a:rPr>
              <a:t>technical debt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C10B94-0CD8-2023-4FCC-6BBAD233AFBE}"/>
              </a:ext>
            </a:extLst>
          </p:cNvPr>
          <p:cNvSpPr txBox="1">
            <a:spLocks/>
          </p:cNvSpPr>
          <p:nvPr/>
        </p:nvSpPr>
        <p:spPr>
          <a:xfrm>
            <a:off x="5055098" y="4965397"/>
            <a:ext cx="4268742" cy="10772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400" dirty="0">
                <a:cs typeface="Arial"/>
              </a:rPr>
              <a:t>Technical debt is intentional or accidental decisions that make code difficult to understand, maintain, extend and fix. Much like a loan, you pay a higher cost later, because it decreases the team's agility as the project mature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231BE4A-A111-3137-4BA1-1F960C3C8A1D}"/>
              </a:ext>
            </a:extLst>
          </p:cNvPr>
          <p:cNvSpPr txBox="1">
            <a:spLocks/>
          </p:cNvSpPr>
          <p:nvPr/>
        </p:nvSpPr>
        <p:spPr>
          <a:xfrm>
            <a:off x="2447472" y="893668"/>
            <a:ext cx="4622436" cy="8617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400" dirty="0"/>
              <a:t>Under-engineering refers to building with reduced complexity resulting in a less robust, efficient and capable product. It happens because of tight deadlines or because of a lack of expertise. 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6FD6293-CCD9-5561-E867-E4BB288EB24E}"/>
              </a:ext>
            </a:extLst>
          </p:cNvPr>
          <p:cNvCxnSpPr>
            <a:cxnSpLocks/>
          </p:cNvCxnSpPr>
          <p:nvPr/>
        </p:nvCxnSpPr>
        <p:spPr>
          <a:xfrm>
            <a:off x="5055099" y="4634077"/>
            <a:ext cx="4268742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00660B2-1F01-CD90-220D-1679A333A660}"/>
              </a:ext>
            </a:extLst>
          </p:cNvPr>
          <p:cNvCxnSpPr>
            <a:cxnSpLocks/>
          </p:cNvCxnSpPr>
          <p:nvPr/>
        </p:nvCxnSpPr>
        <p:spPr>
          <a:xfrm>
            <a:off x="2447472" y="2086764"/>
            <a:ext cx="4622436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Placeholder 9">
            <a:extLst>
              <a:ext uri="{FF2B5EF4-FFF2-40B4-BE49-F238E27FC236}">
                <a16:creationId xmlns:a16="http://schemas.microsoft.com/office/drawing/2014/main" id="{AF2238B2-2329-7F31-4C09-F3A7BB0575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5B6615E-F2EA-EEA6-5E41-CF6031765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35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6A75D1-AB9E-98FF-BED4-01FA6D0E3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6A75D1-AB9E-98FF-BED4-01FA6D0E3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DDD73EDC-1FF3-7F9D-9EAA-A1683412D4BB}"/>
              </a:ext>
            </a:extLst>
          </p:cNvPr>
          <p:cNvCxnSpPr>
            <a:cxnSpLocks/>
          </p:cNvCxnSpPr>
          <p:nvPr/>
        </p:nvCxnSpPr>
        <p:spPr>
          <a:xfrm>
            <a:off x="7313880" y="3224925"/>
            <a:ext cx="975773" cy="0"/>
          </a:xfrm>
          <a:prstGeom prst="line">
            <a:avLst/>
          </a:prstGeom>
          <a:ln w="12700" cap="flat">
            <a:solidFill>
              <a:schemeClr val="accent5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Arc 105">
            <a:extLst>
              <a:ext uri="{FF2B5EF4-FFF2-40B4-BE49-F238E27FC236}">
                <a16:creationId xmlns:a16="http://schemas.microsoft.com/office/drawing/2014/main" id="{0EDE75BA-F83D-4667-1331-9FDDF190C4B2}"/>
              </a:ext>
            </a:extLst>
          </p:cNvPr>
          <p:cNvSpPr/>
          <p:nvPr/>
        </p:nvSpPr>
        <p:spPr>
          <a:xfrm flipH="1">
            <a:off x="7619735" y="1364462"/>
            <a:ext cx="1893236" cy="1893236"/>
          </a:xfrm>
          <a:prstGeom prst="arc">
            <a:avLst>
              <a:gd name="adj1" fmla="val 121476"/>
              <a:gd name="adj2" fmla="val 4433755"/>
            </a:avLst>
          </a:prstGeom>
          <a:ln w="12700" cap="flat">
            <a:solidFill>
              <a:schemeClr val="accent5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7" name="Arc 106">
            <a:extLst>
              <a:ext uri="{FF2B5EF4-FFF2-40B4-BE49-F238E27FC236}">
                <a16:creationId xmlns:a16="http://schemas.microsoft.com/office/drawing/2014/main" id="{DA4F84F4-63D0-15BC-88D8-6819E6C21C48}"/>
              </a:ext>
            </a:extLst>
          </p:cNvPr>
          <p:cNvSpPr/>
          <p:nvPr/>
        </p:nvSpPr>
        <p:spPr>
          <a:xfrm flipH="1" flipV="1">
            <a:off x="7619735" y="3187779"/>
            <a:ext cx="1893236" cy="1893236"/>
          </a:xfrm>
          <a:prstGeom prst="arc">
            <a:avLst>
              <a:gd name="adj1" fmla="val 121476"/>
              <a:gd name="adj2" fmla="val 4433755"/>
            </a:avLst>
          </a:prstGeom>
          <a:ln w="12700" cap="flat">
            <a:solidFill>
              <a:schemeClr val="accent5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88AE6D2-98BC-80FF-16A3-F22305C32759}"/>
              </a:ext>
            </a:extLst>
          </p:cNvPr>
          <p:cNvCxnSpPr>
            <a:cxnSpLocks/>
          </p:cNvCxnSpPr>
          <p:nvPr/>
        </p:nvCxnSpPr>
        <p:spPr>
          <a:xfrm>
            <a:off x="9512971" y="3224925"/>
            <a:ext cx="969777" cy="0"/>
          </a:xfrm>
          <a:prstGeom prst="line">
            <a:avLst/>
          </a:prstGeom>
          <a:ln w="12700" cap="flat">
            <a:solidFill>
              <a:schemeClr val="accent3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Arc 103">
            <a:extLst>
              <a:ext uri="{FF2B5EF4-FFF2-40B4-BE49-F238E27FC236}">
                <a16:creationId xmlns:a16="http://schemas.microsoft.com/office/drawing/2014/main" id="{A7044C0F-375C-1995-8B0C-88C471F26DFE}"/>
              </a:ext>
            </a:extLst>
          </p:cNvPr>
          <p:cNvSpPr/>
          <p:nvPr/>
        </p:nvSpPr>
        <p:spPr>
          <a:xfrm>
            <a:off x="8307385" y="1364462"/>
            <a:ext cx="1893236" cy="1893236"/>
          </a:xfrm>
          <a:prstGeom prst="arc">
            <a:avLst>
              <a:gd name="adj1" fmla="val 121476"/>
              <a:gd name="adj2" fmla="val 4433755"/>
            </a:avLst>
          </a:prstGeom>
          <a:ln w="12700" cap="flat">
            <a:solidFill>
              <a:schemeClr val="accent3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5" name="Arc 104">
            <a:extLst>
              <a:ext uri="{FF2B5EF4-FFF2-40B4-BE49-F238E27FC236}">
                <a16:creationId xmlns:a16="http://schemas.microsoft.com/office/drawing/2014/main" id="{6A6F47FD-560B-8E53-0291-E2BB86C0B72C}"/>
              </a:ext>
            </a:extLst>
          </p:cNvPr>
          <p:cNvSpPr/>
          <p:nvPr/>
        </p:nvSpPr>
        <p:spPr>
          <a:xfrm flipV="1">
            <a:off x="8307385" y="3187779"/>
            <a:ext cx="1893236" cy="1893236"/>
          </a:xfrm>
          <a:prstGeom prst="arc">
            <a:avLst>
              <a:gd name="adj1" fmla="val 121476"/>
              <a:gd name="adj2" fmla="val 4433755"/>
            </a:avLst>
          </a:prstGeom>
          <a:ln w="12700" cap="flat">
            <a:solidFill>
              <a:schemeClr val="accent3"/>
            </a:solidFill>
            <a:prstDash val="sys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417E03F-BA44-D706-9DCF-D0D4995AE8FC}"/>
              </a:ext>
            </a:extLst>
          </p:cNvPr>
          <p:cNvCxnSpPr>
            <a:cxnSpLocks/>
          </p:cNvCxnSpPr>
          <p:nvPr/>
        </p:nvCxnSpPr>
        <p:spPr>
          <a:xfrm>
            <a:off x="8901312" y="1909973"/>
            <a:ext cx="0" cy="703293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FEFC506-B035-8B5C-1C6D-35339FA9544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dirty="0"/>
              <a:t>How do we </a:t>
            </a:r>
            <a:r>
              <a:rPr lang="en-GB" i="1" dirty="0"/>
              <a:t>usually</a:t>
            </a:r>
            <a:r>
              <a:rPr lang="en-GB" dirty="0"/>
              <a:t>  pay off this technical debt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B82A47-120C-28C7-5475-77628F20D2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sz="1600" dirty="0">
                <a:solidFill>
                  <a:srgbClr val="B3B3B3"/>
                </a:solidFill>
              </a:rPr>
              <a:t>​Data scientists handover code to data &amp; machine-learning engine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3BE0801-EBEE-8E98-B290-009B7BF43C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B5256BC-F228-04B5-A17B-855C788ECABE}"/>
              </a:ext>
            </a:extLst>
          </p:cNvPr>
          <p:cNvSpPr txBox="1"/>
          <p:nvPr/>
        </p:nvSpPr>
        <p:spPr>
          <a:xfrm>
            <a:off x="6672962" y="5548180"/>
            <a:ext cx="137856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Anyone that gets to create data science experiments in the research phase</a:t>
            </a:r>
            <a:endParaRPr lang="en-GB" sz="8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F6D98C-92DC-1D28-810B-31436C6A2565}"/>
              </a:ext>
            </a:extLst>
          </p:cNvPr>
          <p:cNvSpPr txBox="1"/>
          <p:nvPr/>
        </p:nvSpPr>
        <p:spPr>
          <a:xfrm>
            <a:off x="6672962" y="5196892"/>
            <a:ext cx="108751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100">
                <a:latin typeface="+mj-lt"/>
              </a:rPr>
              <a:t>Data Scientists</a:t>
            </a:r>
            <a:endParaRPr lang="en-GB" sz="1100" dirty="0">
              <a:latin typeface="+mj-lt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2EF30C0-13C2-4C44-1AE1-C481EDA390C5}"/>
              </a:ext>
            </a:extLst>
          </p:cNvPr>
          <p:cNvCxnSpPr>
            <a:cxnSpLocks/>
          </p:cNvCxnSpPr>
          <p:nvPr/>
        </p:nvCxnSpPr>
        <p:spPr>
          <a:xfrm>
            <a:off x="6672962" y="5448903"/>
            <a:ext cx="278675" cy="0"/>
          </a:xfrm>
          <a:prstGeom prst="line">
            <a:avLst/>
          </a:prstGeom>
          <a:ln w="12700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D8F62E3-A2B9-9818-B9BD-CF213D3BCFDE}"/>
              </a:ext>
            </a:extLst>
          </p:cNvPr>
          <p:cNvSpPr txBox="1">
            <a:spLocks/>
          </p:cNvSpPr>
          <p:nvPr/>
        </p:nvSpPr>
        <p:spPr>
          <a:xfrm>
            <a:off x="554734" y="2076874"/>
            <a:ext cx="4523233" cy="30162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2800" dirty="0">
                <a:latin typeface="+mj-lt"/>
              </a:rPr>
              <a:t>“Part of the context is that I may fall slightly on the less technical side, so I have been mainly working out of notebooks and </a:t>
            </a:r>
            <a:r>
              <a:rPr lang="en-GB" sz="2800" dirty="0">
                <a:solidFill>
                  <a:schemeClr val="accent1"/>
                </a:solidFill>
                <a:latin typeface="+mj-lt"/>
              </a:rPr>
              <a:t>relying on data engineers to </a:t>
            </a:r>
            <a:r>
              <a:rPr lang="en-GB" sz="2800" dirty="0" err="1">
                <a:solidFill>
                  <a:schemeClr val="accent1"/>
                </a:solidFill>
                <a:latin typeface="+mj-lt"/>
              </a:rPr>
              <a:t>productionalise</a:t>
            </a:r>
            <a:r>
              <a:rPr lang="en-GB" sz="2800" dirty="0">
                <a:solidFill>
                  <a:schemeClr val="accent1"/>
                </a:solidFill>
                <a:latin typeface="+mj-lt"/>
              </a:rPr>
              <a:t> code</a:t>
            </a:r>
            <a:r>
              <a:rPr lang="en-GB" sz="2800" dirty="0">
                <a:latin typeface="+mj-lt"/>
              </a:rPr>
              <a:t>.”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48210A-DF92-0380-4D84-85F42CB54568}"/>
              </a:ext>
            </a:extLst>
          </p:cNvPr>
          <p:cNvSpPr txBox="1">
            <a:spLocks/>
          </p:cNvSpPr>
          <p:nvPr/>
        </p:nvSpPr>
        <p:spPr>
          <a:xfrm>
            <a:off x="554734" y="5359734"/>
            <a:ext cx="4523233" cy="1615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050" b="1">
                <a:solidFill>
                  <a:srgbClr val="B3B3B3"/>
                </a:solidFill>
              </a:rPr>
              <a:t>DATA SCIENTIST AT A MAJOR PHARMACEUTICAL COMPANY</a:t>
            </a:r>
            <a:endParaRPr lang="en-GB" sz="1050" b="1" dirty="0">
              <a:solidFill>
                <a:srgbClr val="B3B3B3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65F84CF-887F-9733-6BE4-5D6C88D04ABF}"/>
              </a:ext>
            </a:extLst>
          </p:cNvPr>
          <p:cNvSpPr txBox="1"/>
          <p:nvPr/>
        </p:nvSpPr>
        <p:spPr>
          <a:xfrm>
            <a:off x="9534550" y="5548180"/>
            <a:ext cx="158339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800" dirty="0">
                <a:latin typeface="Arial" panose="020B0604020202020204" pitchFamily="34" charset="0"/>
              </a:rPr>
              <a:t>Anyone that must overhaul data science experiments produced in the research pha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AE715A-7D3C-8403-CCCC-504D99E9AF60}"/>
              </a:ext>
            </a:extLst>
          </p:cNvPr>
          <p:cNvSpPr txBox="1"/>
          <p:nvPr/>
        </p:nvSpPr>
        <p:spPr>
          <a:xfrm>
            <a:off x="9239358" y="5196892"/>
            <a:ext cx="187859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1100">
                <a:latin typeface="+mj-lt"/>
              </a:rPr>
              <a:t>Data &amp; ML Engineers</a:t>
            </a:r>
            <a:endParaRPr lang="en-GB" sz="1100" dirty="0">
              <a:latin typeface="+mj-l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AB6972-A898-229E-0FA4-37D0B5C93F4F}"/>
              </a:ext>
            </a:extLst>
          </p:cNvPr>
          <p:cNvCxnSpPr>
            <a:cxnSpLocks/>
          </p:cNvCxnSpPr>
          <p:nvPr/>
        </p:nvCxnSpPr>
        <p:spPr>
          <a:xfrm>
            <a:off x="10839272" y="5448903"/>
            <a:ext cx="278675" cy="0"/>
          </a:xfrm>
          <a:prstGeom prst="line">
            <a:avLst/>
          </a:prstGeom>
          <a:ln w="1270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49624BC-E0B0-D948-2FA9-2840BCF45B78}"/>
              </a:ext>
            </a:extLst>
          </p:cNvPr>
          <p:cNvSpPr txBox="1"/>
          <p:nvPr/>
        </p:nvSpPr>
        <p:spPr>
          <a:xfrm>
            <a:off x="8131728" y="1952943"/>
            <a:ext cx="1656111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GB" sz="800" b="1" dirty="0">
                <a:solidFill>
                  <a:schemeClr val="accent5"/>
                </a:solidFill>
              </a:rPr>
              <a:t>RESEARCH</a:t>
            </a:r>
            <a:r>
              <a:rPr lang="en-GB" sz="800" b="1" dirty="0">
                <a:solidFill>
                  <a:schemeClr val="accent2"/>
                </a:solidFill>
              </a:rPr>
              <a:t>    </a:t>
            </a:r>
            <a:r>
              <a:rPr lang="en-GB" sz="800" b="1" dirty="0">
                <a:solidFill>
                  <a:schemeClr val="accent3"/>
                </a:solidFill>
              </a:rPr>
              <a:t>PRODU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0459F9-308A-DF24-3C9D-067D57DC62B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30377" y="1698856"/>
            <a:ext cx="630000" cy="63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6D4F5A-616C-F7FC-7EAA-46BEC9860F5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9868068" y="1698856"/>
            <a:ext cx="617647" cy="63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DDFBC22-34CF-3BF9-2D9B-F6C5169B49D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73800" y="2904885"/>
            <a:ext cx="630000" cy="63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92465D1-0828-93F4-18D8-0261BE8BF38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30377" y="4110914"/>
            <a:ext cx="630000" cy="630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8D2AEF5-4979-FD1D-2B99-A72A4CF7F1F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10482748" y="2904885"/>
            <a:ext cx="617647" cy="63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9CD1C7A-BD4C-2B2D-2816-ED6B01315F4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9868068" y="4110914"/>
            <a:ext cx="617647" cy="630000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DB8CFBC6-A448-EC51-71ED-2CDB5EA48799}"/>
              </a:ext>
            </a:extLst>
          </p:cNvPr>
          <p:cNvGrpSpPr/>
          <p:nvPr/>
        </p:nvGrpSpPr>
        <p:grpSpPr>
          <a:xfrm>
            <a:off x="8274550" y="2592167"/>
            <a:ext cx="1260000" cy="1260000"/>
            <a:chOff x="8274550" y="2592167"/>
            <a:chExt cx="1260000" cy="1260000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F225BEA-D540-A515-653B-735954F95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/>
          </p:blipFill>
          <p:spPr>
            <a:xfrm>
              <a:off x="8274550" y="2592167"/>
              <a:ext cx="1260000" cy="1260000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4F0BC8E-A374-7A3A-D714-B90625D47117}"/>
                </a:ext>
              </a:extLst>
            </p:cNvPr>
            <p:cNvSpPr>
              <a:spLocks/>
            </p:cNvSpPr>
            <p:nvPr/>
          </p:nvSpPr>
          <p:spPr>
            <a:xfrm>
              <a:off x="9028257" y="3413850"/>
              <a:ext cx="128100" cy="128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E6C5130-8CE1-9ABB-DF59-36A29A4649A9}"/>
                </a:ext>
              </a:extLst>
            </p:cNvPr>
            <p:cNvSpPr>
              <a:spLocks/>
            </p:cNvSpPr>
            <p:nvPr/>
          </p:nvSpPr>
          <p:spPr>
            <a:xfrm>
              <a:off x="9188277" y="3305265"/>
              <a:ext cx="128100" cy="128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8F2E19-A979-5638-A643-2CE31EC83277}"/>
                </a:ext>
              </a:extLst>
            </p:cNvPr>
            <p:cNvSpPr>
              <a:spLocks/>
            </p:cNvSpPr>
            <p:nvPr/>
          </p:nvSpPr>
          <p:spPr>
            <a:xfrm>
              <a:off x="9186372" y="3011419"/>
              <a:ext cx="128100" cy="128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8EC100-4040-76F7-6271-7ABDCF91B838}"/>
                </a:ext>
              </a:extLst>
            </p:cNvPr>
            <p:cNvSpPr>
              <a:spLocks/>
            </p:cNvSpPr>
            <p:nvPr/>
          </p:nvSpPr>
          <p:spPr>
            <a:xfrm>
              <a:off x="9032067" y="2904739"/>
              <a:ext cx="128100" cy="1281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BC145DD-457B-4A74-E5C9-64313A808B85}"/>
                </a:ext>
              </a:extLst>
            </p:cNvPr>
            <p:cNvCxnSpPr>
              <a:cxnSpLocks/>
            </p:cNvCxnSpPr>
            <p:nvPr/>
          </p:nvCxnSpPr>
          <p:spPr>
            <a:xfrm>
              <a:off x="8901631" y="3175958"/>
              <a:ext cx="238559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E3FB724-6F1B-43E8-76DC-F88FBB273655}"/>
                </a:ext>
              </a:extLst>
            </p:cNvPr>
            <p:cNvCxnSpPr>
              <a:cxnSpLocks/>
            </p:cNvCxnSpPr>
            <p:nvPr/>
          </p:nvCxnSpPr>
          <p:spPr>
            <a:xfrm>
              <a:off x="8901631" y="3270255"/>
              <a:ext cx="238559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A0E0BAD-07A9-2EED-ECA1-45AFC42CC0C5}"/>
                </a:ext>
              </a:extLst>
            </p:cNvPr>
            <p:cNvCxnSpPr/>
            <p:nvPr/>
          </p:nvCxnSpPr>
          <p:spPr>
            <a:xfrm>
              <a:off x="8901631" y="3376459"/>
              <a:ext cx="97044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42C4959-A7D4-D5AB-F0A8-1A0FC29723CA}"/>
                </a:ext>
              </a:extLst>
            </p:cNvPr>
            <p:cNvCxnSpPr/>
            <p:nvPr/>
          </p:nvCxnSpPr>
          <p:spPr>
            <a:xfrm>
              <a:off x="8901631" y="3067373"/>
              <a:ext cx="97044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Arc 38">
              <a:extLst>
                <a:ext uri="{FF2B5EF4-FFF2-40B4-BE49-F238E27FC236}">
                  <a16:creationId xmlns:a16="http://schemas.microsoft.com/office/drawing/2014/main" id="{C2ACB0C2-F31A-FD56-21BC-28D0A5ED5848}"/>
                </a:ext>
              </a:extLst>
            </p:cNvPr>
            <p:cNvSpPr/>
            <p:nvPr/>
          </p:nvSpPr>
          <p:spPr>
            <a:xfrm>
              <a:off x="8948920" y="2970335"/>
              <a:ext cx="97044" cy="97044"/>
            </a:xfrm>
            <a:prstGeom prst="arc">
              <a:avLst>
                <a:gd name="adj1" fmla="val 64958"/>
                <a:gd name="adj2" fmla="val 5346047"/>
              </a:avLst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3" name="Arc 42">
              <a:extLst>
                <a:ext uri="{FF2B5EF4-FFF2-40B4-BE49-F238E27FC236}">
                  <a16:creationId xmlns:a16="http://schemas.microsoft.com/office/drawing/2014/main" id="{2749BC58-28ED-64D9-870A-3B5F9765437A}"/>
                </a:ext>
              </a:extLst>
            </p:cNvPr>
            <p:cNvSpPr/>
            <p:nvPr/>
          </p:nvSpPr>
          <p:spPr>
            <a:xfrm flipV="1">
              <a:off x="8948920" y="3376454"/>
              <a:ext cx="97044" cy="97044"/>
            </a:xfrm>
            <a:prstGeom prst="arc">
              <a:avLst>
                <a:gd name="adj1" fmla="val 64958"/>
                <a:gd name="adj2" fmla="val 5346047"/>
              </a:avLst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id="{59FA24B4-16FA-9C0B-0E95-DC37DEF1B059}"/>
                </a:ext>
              </a:extLst>
            </p:cNvPr>
            <p:cNvSpPr/>
            <p:nvPr/>
          </p:nvSpPr>
          <p:spPr>
            <a:xfrm flipV="1">
              <a:off x="9082269" y="3270248"/>
              <a:ext cx="119769" cy="119769"/>
            </a:xfrm>
            <a:prstGeom prst="arc">
              <a:avLst>
                <a:gd name="adj1" fmla="val 64958"/>
                <a:gd name="adj2" fmla="val 5600763"/>
              </a:avLst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FC2CD5C9-11F3-BA90-C5C2-EE0418490C75}"/>
                </a:ext>
              </a:extLst>
            </p:cNvPr>
            <p:cNvSpPr/>
            <p:nvPr/>
          </p:nvSpPr>
          <p:spPr>
            <a:xfrm>
              <a:off x="9082269" y="3056595"/>
              <a:ext cx="119769" cy="119769"/>
            </a:xfrm>
            <a:prstGeom prst="arc">
              <a:avLst>
                <a:gd name="adj1" fmla="val 64958"/>
                <a:gd name="adj2" fmla="val 5600763"/>
              </a:avLst>
            </a:prstGeom>
            <a:ln w="1270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4" name="Picture Placeholder 9">
            <a:extLst>
              <a:ext uri="{FF2B5EF4-FFF2-40B4-BE49-F238E27FC236}">
                <a16:creationId xmlns:a16="http://schemas.microsoft.com/office/drawing/2014/main" id="{8F337659-CD0C-ED96-9C94-2FE026A8DF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766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4D5D00C-38D1-4829-B882-CB870EB0BA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4D5D00C-38D1-4829-B882-CB870EB0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17">
            <a:extLst>
              <a:ext uri="{FF2B5EF4-FFF2-40B4-BE49-F238E27FC236}">
                <a16:creationId xmlns:a16="http://schemas.microsoft.com/office/drawing/2014/main" id="{5008FA05-1D89-4543-B031-1978A900FCBF}"/>
              </a:ext>
            </a:extLst>
          </p:cNvPr>
          <p:cNvSpPr/>
          <p:nvPr/>
        </p:nvSpPr>
        <p:spPr>
          <a:xfrm>
            <a:off x="-7462" y="1311"/>
            <a:ext cx="3843339" cy="6857999"/>
          </a:xfrm>
          <a:custGeom>
            <a:avLst/>
            <a:gdLst>
              <a:gd name="connsiteX0" fmla="*/ 0 w 12191999"/>
              <a:gd name="connsiteY0" fmla="*/ 0 h 6857999"/>
              <a:gd name="connsiteX1" fmla="*/ 12191999 w 12191999"/>
              <a:gd name="connsiteY1" fmla="*/ 0 h 6857999"/>
              <a:gd name="connsiteX2" fmla="*/ 12191999 w 12191999"/>
              <a:gd name="connsiteY2" fmla="*/ 6857999 h 6857999"/>
              <a:gd name="connsiteX3" fmla="*/ 0 w 12191999"/>
              <a:gd name="connsiteY3" fmla="*/ 6857999 h 6857999"/>
              <a:gd name="connsiteX4" fmla="*/ 0 w 12191999"/>
              <a:gd name="connsiteY4" fmla="*/ 0 h 6857999"/>
              <a:gd name="connsiteX0" fmla="*/ 10886 w 12202885"/>
              <a:gd name="connsiteY0" fmla="*/ 0 h 6857999"/>
              <a:gd name="connsiteX1" fmla="*/ 12202885 w 12202885"/>
              <a:gd name="connsiteY1" fmla="*/ 0 h 6857999"/>
              <a:gd name="connsiteX2" fmla="*/ 12202885 w 12202885"/>
              <a:gd name="connsiteY2" fmla="*/ 6857999 h 6857999"/>
              <a:gd name="connsiteX3" fmla="*/ 10886 w 12202885"/>
              <a:gd name="connsiteY3" fmla="*/ 6857999 h 6857999"/>
              <a:gd name="connsiteX4" fmla="*/ 0 w 12202885"/>
              <a:gd name="connsiteY4" fmla="*/ 3363686 h 6857999"/>
              <a:gd name="connsiteX5" fmla="*/ 10886 w 12202885"/>
              <a:gd name="connsiteY5" fmla="*/ 0 h 6857999"/>
              <a:gd name="connsiteX0" fmla="*/ 10886 w 12202885"/>
              <a:gd name="connsiteY0" fmla="*/ 0 h 6857999"/>
              <a:gd name="connsiteX1" fmla="*/ 12202885 w 12202885"/>
              <a:gd name="connsiteY1" fmla="*/ 0 h 6857999"/>
              <a:gd name="connsiteX2" fmla="*/ 12192000 w 12202885"/>
              <a:gd name="connsiteY2" fmla="*/ 3222171 h 6857999"/>
              <a:gd name="connsiteX3" fmla="*/ 12202885 w 12202885"/>
              <a:gd name="connsiteY3" fmla="*/ 6857999 h 6857999"/>
              <a:gd name="connsiteX4" fmla="*/ 10886 w 12202885"/>
              <a:gd name="connsiteY4" fmla="*/ 6857999 h 6857999"/>
              <a:gd name="connsiteX5" fmla="*/ 0 w 12202885"/>
              <a:gd name="connsiteY5" fmla="*/ 3363686 h 6857999"/>
              <a:gd name="connsiteX6" fmla="*/ 10886 w 12202885"/>
              <a:gd name="connsiteY6" fmla="*/ 0 h 6857999"/>
              <a:gd name="connsiteX0" fmla="*/ 10886 w 12217809"/>
              <a:gd name="connsiteY0" fmla="*/ 0 h 6857999"/>
              <a:gd name="connsiteX1" fmla="*/ 12202885 w 12217809"/>
              <a:gd name="connsiteY1" fmla="*/ 0 h 6857999"/>
              <a:gd name="connsiteX2" fmla="*/ 12217400 w 12217809"/>
              <a:gd name="connsiteY2" fmla="*/ 3227251 h 6857999"/>
              <a:gd name="connsiteX3" fmla="*/ 12202885 w 12217809"/>
              <a:gd name="connsiteY3" fmla="*/ 6857999 h 6857999"/>
              <a:gd name="connsiteX4" fmla="*/ 10886 w 12217809"/>
              <a:gd name="connsiteY4" fmla="*/ 6857999 h 6857999"/>
              <a:gd name="connsiteX5" fmla="*/ 0 w 12217809"/>
              <a:gd name="connsiteY5" fmla="*/ 3363686 h 6857999"/>
              <a:gd name="connsiteX6" fmla="*/ 10886 w 12217809"/>
              <a:gd name="connsiteY6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809" h="6857999">
                <a:moveTo>
                  <a:pt x="10886" y="0"/>
                </a:moveTo>
                <a:lnTo>
                  <a:pt x="12202885" y="0"/>
                </a:lnTo>
                <a:cubicBezTo>
                  <a:pt x="12199257" y="1074057"/>
                  <a:pt x="12221028" y="2153194"/>
                  <a:pt x="12217400" y="3227251"/>
                </a:cubicBezTo>
                <a:cubicBezTo>
                  <a:pt x="12221028" y="4439194"/>
                  <a:pt x="12199257" y="5646056"/>
                  <a:pt x="12202885" y="6857999"/>
                </a:cubicBezTo>
                <a:lnTo>
                  <a:pt x="10886" y="6857999"/>
                </a:lnTo>
                <a:cubicBezTo>
                  <a:pt x="7257" y="5693228"/>
                  <a:pt x="3629" y="4528457"/>
                  <a:pt x="0" y="3363686"/>
                </a:cubicBezTo>
                <a:cubicBezTo>
                  <a:pt x="3629" y="2242457"/>
                  <a:pt x="7257" y="1121229"/>
                  <a:pt x="10886" y="0"/>
                </a:cubicBezTo>
                <a:close/>
              </a:path>
            </a:pathLst>
          </a:cu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863D1D-0DA8-0648-A59B-B1BD3AA18315}"/>
              </a:ext>
            </a:extLst>
          </p:cNvPr>
          <p:cNvSpPr txBox="1"/>
          <p:nvPr/>
        </p:nvSpPr>
        <p:spPr>
          <a:xfrm>
            <a:off x="4571998" y="349241"/>
            <a:ext cx="5262284" cy="7620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Data scientists have to learn so many tools to create high-quality code.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6F87A0-B310-6343-B905-1B4111C43F18}"/>
              </a:ext>
            </a:extLst>
          </p:cNvPr>
          <p:cNvSpPr txBox="1"/>
          <p:nvPr/>
        </p:nvSpPr>
        <p:spPr>
          <a:xfrm>
            <a:off x="4571997" y="3279529"/>
            <a:ext cx="7479869" cy="6330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Everyone works in different ways.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CC86D9-A0C6-0E4D-BD54-901B2EC526B3}"/>
              </a:ext>
            </a:extLst>
          </p:cNvPr>
          <p:cNvSpPr txBox="1"/>
          <p:nvPr/>
        </p:nvSpPr>
        <p:spPr>
          <a:xfrm>
            <a:off x="7544835" y="5304591"/>
            <a:ext cx="4280301" cy="23573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No one wants to use the framework I created.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61A8E5-BBBB-C043-9A5A-751C906993D0}"/>
              </a:ext>
            </a:extLst>
          </p:cNvPr>
          <p:cNvSpPr txBox="1"/>
          <p:nvPr/>
        </p:nvSpPr>
        <p:spPr>
          <a:xfrm>
            <a:off x="6330462" y="2616845"/>
            <a:ext cx="5064366" cy="4337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It’s tedious to always setup documentation and code quality tooling my project.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E3F1FB-9E18-E24C-925E-86E70EE15536}"/>
              </a:ext>
            </a:extLst>
          </p:cNvPr>
          <p:cNvSpPr txBox="1"/>
          <p:nvPr/>
        </p:nvSpPr>
        <p:spPr>
          <a:xfrm>
            <a:off x="4571997" y="5794862"/>
            <a:ext cx="5369862" cy="6330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We all have different levels of exposure to software engineering best-practice.”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7BA86B-7F50-7948-AF91-0E6EECFD5D0B}"/>
              </a:ext>
            </a:extLst>
          </p:cNvPr>
          <p:cNvSpPr txBox="1"/>
          <p:nvPr/>
        </p:nvSpPr>
        <p:spPr>
          <a:xfrm>
            <a:off x="5424336" y="1411071"/>
            <a:ext cx="6400800" cy="5418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I have to think about Sphinx, flake8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iso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, black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okiecutt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Data Science, Docker, Python Logging, virtual environments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yte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, configuration and more .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350D17-21EC-2644-82C5-43915F767543}"/>
              </a:ext>
            </a:extLst>
          </p:cNvPr>
          <p:cNvSpPr txBox="1"/>
          <p:nvPr/>
        </p:nvSpPr>
        <p:spPr>
          <a:xfrm>
            <a:off x="4571997" y="2110915"/>
            <a:ext cx="5970497" cy="2770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I spend a lot of time trying to understand a codebase that I didn’t write.”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BB3D29-E675-094E-A981-F79D4134CC4B}"/>
              </a:ext>
            </a:extLst>
          </p:cNvPr>
          <p:cNvSpPr txBox="1"/>
          <p:nvPr/>
        </p:nvSpPr>
        <p:spPr>
          <a:xfrm>
            <a:off x="4419598" y="4698681"/>
            <a:ext cx="7479869" cy="39167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My code will not run on another person’s machine.”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B6E534-5BEE-F943-BAE7-579146049AC0}"/>
              </a:ext>
            </a:extLst>
          </p:cNvPr>
          <p:cNvSpPr txBox="1"/>
          <p:nvPr/>
        </p:nvSpPr>
        <p:spPr>
          <a:xfrm>
            <a:off x="4571997" y="4139617"/>
            <a:ext cx="6400800" cy="5418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“It takes really long to put code in production and we have to rewrite and restructure large parts of it.”</a:t>
            </a:r>
          </a:p>
        </p:txBody>
      </p:sp>
      <p:sp>
        <p:nvSpPr>
          <p:cNvPr id="23" name="Subtitle 5">
            <a:extLst>
              <a:ext uri="{FF2B5EF4-FFF2-40B4-BE49-F238E27FC236}">
                <a16:creationId xmlns:a16="http://schemas.microsoft.com/office/drawing/2014/main" id="{22B228D9-5D26-4094-AC6D-1BFE660CC4CF}"/>
              </a:ext>
            </a:extLst>
          </p:cNvPr>
          <p:cNvSpPr txBox="1">
            <a:spLocks/>
          </p:cNvSpPr>
          <p:nvPr/>
        </p:nvSpPr>
        <p:spPr bwMode="gray">
          <a:xfrm>
            <a:off x="630935" y="3659644"/>
            <a:ext cx="3052064" cy="6155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0664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3716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A workflow beyond notebooks </a:t>
            </a:r>
            <a:br>
              <a:rPr lang="en-US" sz="1800" dirty="0"/>
            </a:br>
            <a:r>
              <a:rPr lang="en-US" sz="1800" dirty="0"/>
              <a:t>still has challenges</a:t>
            </a: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10015CEE-ABBE-436C-8FC6-4EE84261FE4E}"/>
              </a:ext>
            </a:extLst>
          </p:cNvPr>
          <p:cNvSpPr txBox="1">
            <a:spLocks/>
          </p:cNvSpPr>
          <p:nvPr/>
        </p:nvSpPr>
        <p:spPr bwMode="gray">
          <a:xfrm>
            <a:off x="630936" y="2308865"/>
            <a:ext cx="3052064" cy="1204945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he challenges of creating machine learning products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EA2D11F0-CED5-4803-9635-B34F02BD91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sz="900" b="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B32A74-26AF-E377-F999-90D6CCD10E42}"/>
              </a:ext>
            </a:extLst>
          </p:cNvPr>
          <p:cNvSpPr txBox="1"/>
          <p:nvPr/>
        </p:nvSpPr>
        <p:spPr>
          <a:xfrm>
            <a:off x="10554789" y="654449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01F83B-35F4-8BDA-49F3-F935CDAFDE38}"/>
              </a:ext>
            </a:extLst>
          </p:cNvPr>
          <p:cNvSpPr txBox="1"/>
          <p:nvPr/>
        </p:nvSpPr>
        <p:spPr>
          <a:xfrm>
            <a:off x="9784080" y="658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F124F180-C152-3269-6AE7-A75152B21C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FCD5BC2D-3802-10A0-BF48-CE29DD7BBA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033D796-DBC2-3D89-7CDC-F78186EB1C5E}"/>
              </a:ext>
            </a:extLst>
          </p:cNvPr>
          <p:cNvSpPr txBox="1"/>
          <p:nvPr/>
        </p:nvSpPr>
        <p:spPr>
          <a:xfrm>
            <a:off x="2883877" y="148492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39" name="Picture 38" descr="A yellow sign with black text&#10;&#10;AI-generated content may be incorrect.">
            <a:extLst>
              <a:ext uri="{FF2B5EF4-FFF2-40B4-BE49-F238E27FC236}">
                <a16:creationId xmlns:a16="http://schemas.microsoft.com/office/drawing/2014/main" id="{B00100A7-B349-696C-7115-49C1E4E13D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1982" y="6364692"/>
            <a:ext cx="689043" cy="36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068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35A2D4E-B6C3-D7B3-216D-CEAB168E2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5A2D4E-B6C3-D7B3-216D-CEAB168E2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A29080-FC17-0F41-0E63-3F7C9C34B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FA63AA-0863-78BF-9FC4-29CBDB55CDC0}"/>
              </a:ext>
            </a:extLst>
          </p:cNvPr>
          <p:cNvSpPr txBox="1"/>
          <p:nvPr/>
        </p:nvSpPr>
        <p:spPr>
          <a:xfrm>
            <a:off x="406400" y="1696720"/>
            <a:ext cx="11633200" cy="3308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4000" b="0" i="0" dirty="0">
                <a:effectLst/>
                <a:latin typeface="+mj-lt"/>
              </a:rPr>
              <a:t>“It’s an approach or process that’s understood to help build software that’s </a:t>
            </a:r>
            <a:r>
              <a:rPr lang="en-GB" sz="4000" b="0" i="0" dirty="0">
                <a:solidFill>
                  <a:schemeClr val="accent1"/>
                </a:solidFill>
                <a:effectLst/>
                <a:latin typeface="+mj-lt"/>
              </a:rPr>
              <a:t>superior</a:t>
            </a:r>
            <a:r>
              <a:rPr lang="en-GB" sz="4000" b="0" i="0" dirty="0">
                <a:effectLst/>
                <a:latin typeface="+mj-lt"/>
              </a:rPr>
              <a:t> in terms of </a:t>
            </a:r>
            <a:r>
              <a:rPr lang="en-GB" sz="4000" b="0" i="0" dirty="0">
                <a:solidFill>
                  <a:schemeClr val="accent1"/>
                </a:solidFill>
                <a:effectLst/>
                <a:latin typeface="+mj-lt"/>
              </a:rPr>
              <a:t>speed of execution</a:t>
            </a:r>
            <a:r>
              <a:rPr lang="en-GB" sz="4000" b="0" i="0" dirty="0">
                <a:effectLst/>
                <a:latin typeface="+mj-lt"/>
              </a:rPr>
              <a:t>, shipping with </a:t>
            </a:r>
            <a:r>
              <a:rPr lang="en-GB" sz="4000" b="0" i="0" dirty="0">
                <a:solidFill>
                  <a:schemeClr val="accent1"/>
                </a:solidFill>
                <a:effectLst/>
                <a:latin typeface="+mj-lt"/>
              </a:rPr>
              <a:t>higher quality</a:t>
            </a:r>
            <a:r>
              <a:rPr lang="en-GB" sz="4000" b="0" i="0" dirty="0">
                <a:effectLst/>
                <a:latin typeface="+mj-lt"/>
              </a:rPr>
              <a:t>, or building </a:t>
            </a:r>
            <a:r>
              <a:rPr lang="en-GB" sz="4000" b="0" i="0" dirty="0">
                <a:solidFill>
                  <a:schemeClr val="accent1"/>
                </a:solidFill>
                <a:effectLst/>
                <a:latin typeface="+mj-lt"/>
              </a:rPr>
              <a:t>more maintainable code</a:t>
            </a:r>
            <a:r>
              <a:rPr lang="en-GB" sz="4000" b="0" i="0" dirty="0">
                <a:effectLst/>
                <a:latin typeface="+mj-lt"/>
              </a:rPr>
              <a:t>.”  </a:t>
            </a:r>
          </a:p>
          <a:p>
            <a:endParaRPr lang="en-GB" dirty="0">
              <a:latin typeface="SF Pro Display"/>
            </a:endParaRPr>
          </a:p>
          <a:p>
            <a:r>
              <a:rPr lang="en-GB" sz="1200" dirty="0">
                <a:solidFill>
                  <a:srgbClr val="B3B3B3"/>
                </a:solidFill>
              </a:rPr>
              <a:t>GERGELY OROSZ, </a:t>
            </a:r>
          </a:p>
          <a:p>
            <a:r>
              <a:rPr lang="en-GB" sz="1200" dirty="0">
                <a:solidFill>
                  <a:srgbClr val="B3B3B3"/>
                </a:solidFill>
              </a:rPr>
              <a:t>AUTHOR OF THE PRAGMATIC ENGINEER</a:t>
            </a:r>
          </a:p>
        </p:txBody>
      </p:sp>
      <p:pic>
        <p:nvPicPr>
          <p:cNvPr id="2" name="Picture Placeholder 9">
            <a:extLst>
              <a:ext uri="{FF2B5EF4-FFF2-40B4-BE49-F238E27FC236}">
                <a16:creationId xmlns:a16="http://schemas.microsoft.com/office/drawing/2014/main" id="{5D23CE6F-FEB5-9DDF-3FB3-122D96CFD8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13" r="413"/>
          <a:stretch>
            <a:fillRect/>
          </a:stretch>
        </p:blipFill>
        <p:spPr>
          <a:xfrm>
            <a:off x="554656" y="6042615"/>
            <a:ext cx="631999" cy="322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018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EMPLATELASTEDITED" val="2023-07-25 10:00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404040"/>
      </a:dk2>
      <a:lt2>
        <a:srgbClr val="FFFFFF"/>
      </a:lt2>
      <a:accent1>
        <a:srgbClr val="FFC900"/>
      </a:accent1>
      <a:accent2>
        <a:srgbClr val="00FFBC"/>
      </a:accent2>
      <a:accent3>
        <a:srgbClr val="3BFF95"/>
      </a:accent3>
      <a:accent4>
        <a:srgbClr val="FFE300"/>
      </a:accent4>
      <a:accent5>
        <a:srgbClr val="DA11B3"/>
      </a:accent5>
      <a:accent6>
        <a:srgbClr val="202020"/>
      </a:accent6>
      <a:hlink>
        <a:srgbClr val="0000FF"/>
      </a:hlink>
      <a:folHlink>
        <a:srgbClr val="800080"/>
      </a:folHlink>
    </a:clrScheme>
    <a:fontScheme name="Custom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404040"/>
        </a:dk2>
        <a:lt2>
          <a:srgbClr val="FFFFFF"/>
        </a:lt2>
        <a:accent1>
          <a:srgbClr val="FFC900"/>
        </a:accent1>
        <a:accent2>
          <a:srgbClr val="00FFBC"/>
        </a:accent2>
        <a:accent3>
          <a:srgbClr val="3BFF95"/>
        </a:accent3>
        <a:accent4>
          <a:srgbClr val="FFE300"/>
        </a:accent4>
        <a:accent5>
          <a:srgbClr val="DA11B3"/>
        </a:accent5>
        <a:accent6>
          <a:srgbClr val="20202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2023_KedroTemplate" id="{244D60FB-BDBF-AD44-82AD-2AF51BC878D3}" vid="{96E0154F-2F71-8141-916C-C6B78F1D841F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00000"/>
      </a:lt1>
      <a:dk2>
        <a:srgbClr val="000000"/>
      </a:dk2>
      <a:lt2>
        <a:srgbClr val="000000"/>
      </a:lt2>
      <a:accent1>
        <a:srgbClr val="FFFFFF"/>
      </a:accent1>
      <a:accent2>
        <a:srgbClr val="FFC900"/>
      </a:accent2>
      <a:accent3>
        <a:srgbClr val="00FFBC"/>
      </a:accent3>
      <a:accent4>
        <a:srgbClr val="3BFF95"/>
      </a:accent4>
      <a:accent5>
        <a:srgbClr val="FFE300"/>
      </a:accent5>
      <a:accent6>
        <a:srgbClr val="DA11B3"/>
      </a:accent6>
      <a:hlink>
        <a:srgbClr val="0000FF"/>
      </a:hlink>
      <a:folHlink>
        <a:srgbClr val="800080"/>
      </a:folHlink>
    </a:clrScheme>
    <a:fontScheme name="Custom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0000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C900"/>
        </a:accent2>
        <a:accent3>
          <a:srgbClr val="00FFBC"/>
        </a:accent3>
        <a:accent4>
          <a:srgbClr val="3BFF95"/>
        </a:accent4>
        <a:accent5>
          <a:srgbClr val="FFE300"/>
        </a:accent5>
        <a:accent6>
          <a:srgbClr val="DA11B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2023_KedroTemplate" id="{244D60FB-BDBF-AD44-82AD-2AF51BC878D3}" vid="{1AF28DA2-12E8-6243-860E-CE88718F08B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7B5121CF-C955-854C-9065-E863FD26279E}">
  <we:reference id="5332053f-08b1-4ad5-b936-144d44d33f40" version="2.1.0.2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9CC5AD31-B561-4548-B162-E2A12AD00844}">
  <we:reference id="186f9e69-8c0a-4e87-b19c-647c4ba34c10" version="16.25.1.2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White</Template>
  <TotalTime>5872</TotalTime>
  <Words>2505</Words>
  <Application>Microsoft Macintosh PowerPoint</Application>
  <PresentationFormat>Widescreen</PresentationFormat>
  <Paragraphs>326</Paragraphs>
  <Slides>44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63" baseType="lpstr">
      <vt:lpstr>Georgia</vt:lpstr>
      <vt:lpstr>-apple-system</vt:lpstr>
      <vt:lpstr>Consolas</vt:lpstr>
      <vt:lpstr>Inter SemiBold</vt:lpstr>
      <vt:lpstr>SF Pro Display</vt:lpstr>
      <vt:lpstr>Inter Black</vt:lpstr>
      <vt:lpstr>Wingdings</vt:lpstr>
      <vt:lpstr>Aptos</vt:lpstr>
      <vt:lpstr>source-serif-pro</vt:lpstr>
      <vt:lpstr>Helvetica Neue</vt:lpstr>
      <vt:lpstr>Google Sans</vt:lpstr>
      <vt:lpstr>Courier New</vt:lpstr>
      <vt:lpstr>Arial</vt:lpstr>
      <vt:lpstr>Segoe UI</vt:lpstr>
      <vt:lpstr>Söhne</vt:lpstr>
      <vt:lpstr>Inter</vt:lpstr>
      <vt:lpstr>White</vt:lpstr>
      <vt:lpstr>Contrast</vt:lpstr>
      <vt:lpstr>think-cell Slide</vt:lpstr>
      <vt:lpstr>https://github.com/pyladiesams/kedro-prod-ready-ds-pipelines-aug2025</vt:lpstr>
      <vt:lpstr>Data science that ships: production-ready pipelines with Kedro</vt:lpstr>
      <vt:lpstr>Agenda</vt:lpstr>
      <vt:lpstr>About me</vt:lpstr>
      <vt:lpstr>01</vt:lpstr>
      <vt:lpstr>PowerPoint Presentation</vt:lpstr>
      <vt:lpstr>How do we usually  pay off this technical debt?</vt:lpstr>
      <vt:lpstr>PowerPoint Presentation</vt:lpstr>
      <vt:lpstr>PowerPoint Presentation</vt:lpstr>
      <vt:lpstr>02</vt:lpstr>
      <vt:lpstr>PowerPoint Presentation</vt:lpstr>
      <vt:lpstr>PowerPoint Presentation</vt:lpstr>
      <vt:lpstr>What does Kedro give you?</vt:lpstr>
      <vt:lpstr>03</vt:lpstr>
      <vt:lpstr>https://github.com/pyladiesams/kedro-prod-ready-ds-pipelines-aug2025</vt:lpstr>
      <vt:lpstr>Example project</vt:lpstr>
      <vt:lpstr>04</vt:lpstr>
      <vt:lpstr>Modularity</vt:lpstr>
      <vt:lpstr>Nodes &amp; Pipelines</vt:lpstr>
      <vt:lpstr>Example data science project</vt:lpstr>
      <vt:lpstr>Example with modularity</vt:lpstr>
      <vt:lpstr>Example with modularity</vt:lpstr>
      <vt:lpstr>Example with modularity in Kedro </vt:lpstr>
      <vt:lpstr>Example with modularity in Kedro </vt:lpstr>
      <vt:lpstr>05</vt:lpstr>
      <vt:lpstr>Separation of concerns</vt:lpstr>
      <vt:lpstr>Configuration</vt:lpstr>
      <vt:lpstr>Data catalog</vt:lpstr>
      <vt:lpstr>Kedro connects datasets and nodes through pipelines</vt:lpstr>
      <vt:lpstr>Example data science project</vt:lpstr>
      <vt:lpstr>Separate data I/O and configuration</vt:lpstr>
      <vt:lpstr>Data I/O handled by the DataCatalog</vt:lpstr>
      <vt:lpstr>Data I/O handled by the DataCatalog</vt:lpstr>
      <vt:lpstr>“Settings” put into configuration</vt:lpstr>
      <vt:lpstr>“Settings” put into configuration</vt:lpstr>
      <vt:lpstr>06</vt:lpstr>
      <vt:lpstr>Maintainability</vt:lpstr>
      <vt:lpstr>Project template</vt:lpstr>
      <vt:lpstr>Project creation options</vt:lpstr>
      <vt:lpstr>Example Kedro project structure</vt:lpstr>
      <vt:lpstr>Summary</vt:lpstr>
      <vt:lpstr>Kedro Resources</vt:lpstr>
      <vt:lpstr>Q&amp;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Merel Theisen</dc:creator>
  <cp:keywords/>
  <dc:description/>
  <cp:lastModifiedBy>Merel Theisen</cp:lastModifiedBy>
  <cp:revision>1</cp:revision>
  <dcterms:created xsi:type="dcterms:W3CDTF">2025-08-07T08:58:53Z</dcterms:created>
  <dcterms:modified xsi:type="dcterms:W3CDTF">2025-08-11T10:51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3-07-25 10:00 AM</vt:lpwstr>
  </property>
</Properties>
</file>